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96" r:id="rId5"/>
    <p:sldMasterId id="2147483715" r:id="rId6"/>
    <p:sldMasterId id="2147483721" r:id="rId7"/>
    <p:sldMasterId id="2147483762" r:id="rId8"/>
  </p:sldMasterIdLst>
  <p:notesMasterIdLst>
    <p:notesMasterId r:id="rId15"/>
  </p:notesMasterIdLst>
  <p:handoutMasterIdLst>
    <p:handoutMasterId r:id="rId16"/>
  </p:handoutMasterIdLst>
  <p:sldIdLst>
    <p:sldId id="2134806172" r:id="rId9"/>
    <p:sldId id="2147376373" r:id="rId10"/>
    <p:sldId id="293" r:id="rId11"/>
    <p:sldId id="4214" r:id="rId12"/>
    <p:sldId id="4220" r:id="rId13"/>
    <p:sldId id="2134806135" r:id="rId14"/>
  </p:sldIdLst>
  <p:sldSz cx="12192000" cy="6858000"/>
  <p:notesSz cx="6797675" cy="98726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B036BDA0-2659-443A-970F-4B32AE6182F6}">
          <p14:sldIdLst>
            <p14:sldId id="2134806172"/>
            <p14:sldId id="2147376373"/>
            <p14:sldId id="293"/>
            <p14:sldId id="4214"/>
            <p14:sldId id="4220"/>
            <p14:sldId id="2134806135"/>
          </p14:sldIdLst>
        </p14:section>
        <p14:section name="Section sans titre" id="{AF9077CB-8FD2-4A00-BC29-DBED700D4287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FFERRERIE Anne (Gaz Réseau Distribution France)" initials="LA(RDF" lastIdx="1" clrIdx="0">
    <p:extLst>
      <p:ext uri="{19B8F6BF-5375-455C-9EA6-DF929625EA0E}">
        <p15:presenceInfo xmlns:p15="http://schemas.microsoft.com/office/powerpoint/2012/main" userId="LAFFERRERIE Anne (Gaz Réseau Distribution France)" providerId="None"/>
      </p:ext>
    </p:extLst>
  </p:cmAuthor>
  <p:cmAuthor id="2" name="Robin Steiger" initials="RS" lastIdx="23" clrIdx="1">
    <p:extLst>
      <p:ext uri="{19B8F6BF-5375-455C-9EA6-DF929625EA0E}">
        <p15:presenceInfo xmlns:p15="http://schemas.microsoft.com/office/powerpoint/2012/main" userId="Robin Steig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2DA597"/>
    <a:srgbClr val="14BE14"/>
    <a:srgbClr val="00B1AF"/>
    <a:srgbClr val="009BC4"/>
    <a:srgbClr val="FF3399"/>
    <a:srgbClr val="00FF00"/>
    <a:srgbClr val="00DBD6"/>
    <a:srgbClr val="C60CC2"/>
    <a:srgbClr val="0091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A09A3E-D5A2-4F43-8314-6B2782020584}" v="17" dt="2024-02-14T13:59:53.97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68D230F3-CF80-4859-8CE7-A43EE81993B5}" styleName="Style léger 1 - Accentuation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8FB837D-C827-4EFA-A057-4D05807E0F7C}" styleName="Style à thème 1 - Accentuation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e moyen 2 - Accentuation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Style léger 1 - Accentuation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AF606853-7671-496A-8E4F-DF71F8EC918B}" styleName="Style foncé 1 - Accentuation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Style foncé 2 - Accentuation 5/Accentuation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Style foncé 2 - Accentuation 3/Accentuation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202B0CA-FC54-4496-8BCA-5EF66A818D29}" styleName="Style foncé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Style moye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6D9F66E-5EB9-4882-86FB-DCBF35E3C3E4}" styleName="Style moyen 4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3" d="100"/>
          <a:sy n="103" d="100"/>
        </p:scale>
        <p:origin x="792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23C51585-7C78-48DA-BB39-192DBF64CB8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4A4AA9D5-7173-447B-88C8-E0228207E3B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3BF2A9-5E11-4CCE-A071-8B18FDBAB181}" type="datetimeFigureOut">
              <a:rPr lang="fr-FR" smtClean="0"/>
              <a:t>14/02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0C7D405-4124-488C-B78F-CDA7BB4138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77319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5D85A759-96E7-4339-B742-EA87EB90581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377319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FE6CB0-68C0-4EF0-B366-E020CB2CB9E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32834348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00E787-2A31-42E9-871B-EF2BD38A1DF0}" type="datetimeFigureOut">
              <a:rPr lang="fr-FR" smtClean="0"/>
              <a:t>14/02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1233488"/>
            <a:ext cx="5924550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768" y="4751221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7319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377319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F6822E-F4D1-43FD-870D-2520D4AED61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02689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EB243F2-C90D-49EF-8ED8-F8BDA20C62C2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13856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9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0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0.bin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_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4"/>
          </p:nvPr>
        </p:nvSpPr>
        <p:spPr bwMode="gray"/>
        <p:txBody>
          <a:bodyPr/>
          <a:lstStyle/>
          <a:p>
            <a:fld id="{A81558C9-C891-4FC2-841C-F59D4CC813CE}" type="datetime1">
              <a:rPr lang="en-GB" smtClean="0"/>
              <a:t>14/02/2024</a:t>
            </a:fld>
            <a:endParaRPr lang="fr-FR"/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776000" y="3258003"/>
            <a:ext cx="10416000" cy="3599677"/>
          </a:xfrm>
          <a:prstGeom prst="rect">
            <a:avLst/>
          </a:prstGeom>
        </p:spPr>
      </p:pic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976035" y="3077927"/>
            <a:ext cx="8784167" cy="301490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bg1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solidFill>
                  <a:schemeClr val="bg1"/>
                </a:solidFill>
              </a:defRPr>
            </a:lvl2pPr>
            <a:lvl3pPr mar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pic>
        <p:nvPicPr>
          <p:cNvPr id="9" name="Imag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519567" y="6353497"/>
            <a:ext cx="672433" cy="504503"/>
          </a:xfrm>
          <a:prstGeom prst="rect">
            <a:avLst/>
          </a:prstGeom>
        </p:spPr>
      </p:pic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53237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2C71B1"/>
                </a:solidFill>
              </a:defRPr>
            </a:lvl1pPr>
          </a:lstStyle>
          <a:p>
            <a:r>
              <a:rPr lang="fr-FR" noProof="0"/>
              <a:t>Flexibilité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6672D90A-39E5-4B6A-AA49-21F7FB79DE87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F6FCE368-46CB-4FFC-96E6-29DD038716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C93AEDDC-9633-4110-A4AB-9739475A4A03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1" name="TextBox 18">
            <a:extLst>
              <a:ext uri="{FF2B5EF4-FFF2-40B4-BE49-F238E27FC236}">
                <a16:creationId xmlns:a16="http://schemas.microsoft.com/office/drawing/2014/main" id="{98737B2E-7354-4035-B502-A36E4BCC97D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CFDD913-41F7-4687-871A-F7711E7BEE2C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B39C535C-3F9A-4001-B1AD-EC0548CA203D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49514905-C130-4842-9F50-9111F1984D4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871BC073-A811-49BC-990D-3191DFAF49E1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TextBox 18">
            <a:extLst>
              <a:ext uri="{FF2B5EF4-FFF2-40B4-BE49-F238E27FC236}">
                <a16:creationId xmlns:a16="http://schemas.microsoft.com/office/drawing/2014/main" id="{8F94DD57-01B4-47FE-8285-D1842D3ED8B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893DC42B-58DB-4583-A52D-0978AE80DC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TextBox 18">
            <a:extLst>
              <a:ext uri="{FF2B5EF4-FFF2-40B4-BE49-F238E27FC236}">
                <a16:creationId xmlns:a16="http://schemas.microsoft.com/office/drawing/2014/main" id="{3C03EB8A-B673-4B65-870C-2555E0C94E0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Espace réservé du texte 53">
            <a:extLst>
              <a:ext uri="{FF2B5EF4-FFF2-40B4-BE49-F238E27FC236}">
                <a16:creationId xmlns:a16="http://schemas.microsoft.com/office/drawing/2014/main" id="{0DC14BCB-B13B-49FA-8DE3-6DF8E9AE942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6" name="Espace réservé du texte 63">
            <a:extLst>
              <a:ext uri="{FF2B5EF4-FFF2-40B4-BE49-F238E27FC236}">
                <a16:creationId xmlns:a16="http://schemas.microsoft.com/office/drawing/2014/main" id="{6B009B69-95BF-4754-8CA4-7482049FAB4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8C2E33E1-75E2-43BA-90E7-E52F584B5B38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8" name="TextBox 18">
            <a:extLst>
              <a:ext uri="{FF2B5EF4-FFF2-40B4-BE49-F238E27FC236}">
                <a16:creationId xmlns:a16="http://schemas.microsoft.com/office/drawing/2014/main" id="{6063AEBD-EB05-4001-B768-72270590B54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9" name="TextBox 18">
            <a:extLst>
              <a:ext uri="{FF2B5EF4-FFF2-40B4-BE49-F238E27FC236}">
                <a16:creationId xmlns:a16="http://schemas.microsoft.com/office/drawing/2014/main" id="{61D47D9F-987F-4B9E-AD17-E8BB40EF78D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8B970164-966E-43BA-9959-6C699689ADD7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1" name="Espace réservé du texte 55">
            <a:extLst>
              <a:ext uri="{FF2B5EF4-FFF2-40B4-BE49-F238E27FC236}">
                <a16:creationId xmlns:a16="http://schemas.microsoft.com/office/drawing/2014/main" id="{0848C082-5E8E-444C-91F8-E334BE802BD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2" name="TextBox 18">
            <a:extLst>
              <a:ext uri="{FF2B5EF4-FFF2-40B4-BE49-F238E27FC236}">
                <a16:creationId xmlns:a16="http://schemas.microsoft.com/office/drawing/2014/main" id="{49360E26-C252-43B6-BF60-74BBA0C834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3" name="Espace réservé du texte 3">
            <a:extLst>
              <a:ext uri="{FF2B5EF4-FFF2-40B4-BE49-F238E27FC236}">
                <a16:creationId xmlns:a16="http://schemas.microsoft.com/office/drawing/2014/main" id="{44D8D820-99F2-4C81-9A3D-75A84C1DEEF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4" name="Rounded Rectangle 4">
            <a:extLst>
              <a:ext uri="{FF2B5EF4-FFF2-40B4-BE49-F238E27FC236}">
                <a16:creationId xmlns:a16="http://schemas.microsoft.com/office/drawing/2014/main" id="{DCAED392-1260-46AD-A06C-BDE1F554566F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5" name="Rounded Rectangle 4">
            <a:extLst>
              <a:ext uri="{FF2B5EF4-FFF2-40B4-BE49-F238E27FC236}">
                <a16:creationId xmlns:a16="http://schemas.microsoft.com/office/drawing/2014/main" id="{6767ADE7-F105-4FC9-82D9-C4D028DD4A40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6" name="Espace réservé du texte 5">
            <a:extLst>
              <a:ext uri="{FF2B5EF4-FFF2-40B4-BE49-F238E27FC236}">
                <a16:creationId xmlns:a16="http://schemas.microsoft.com/office/drawing/2014/main" id="{1DEC7629-EAF1-4AF3-8C3A-80E969A295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7" name="Espace réservé du texte 46">
            <a:extLst>
              <a:ext uri="{FF2B5EF4-FFF2-40B4-BE49-F238E27FC236}">
                <a16:creationId xmlns:a16="http://schemas.microsoft.com/office/drawing/2014/main" id="{0495E0A1-0628-4ECD-AACC-AD0B92984AF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8" name="Espace réservé du texte 48">
            <a:extLst>
              <a:ext uri="{FF2B5EF4-FFF2-40B4-BE49-F238E27FC236}">
                <a16:creationId xmlns:a16="http://schemas.microsoft.com/office/drawing/2014/main" id="{718E8F03-F8C2-4F57-8799-A3E477FCBB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29" name="Rounded Rectangle 4">
            <a:extLst>
              <a:ext uri="{FF2B5EF4-FFF2-40B4-BE49-F238E27FC236}">
                <a16:creationId xmlns:a16="http://schemas.microsoft.com/office/drawing/2014/main" id="{939C30CF-9CBD-4152-913F-A95EB1F3DD5D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0" name="Espace réservé du texte 5">
            <a:extLst>
              <a:ext uri="{FF2B5EF4-FFF2-40B4-BE49-F238E27FC236}">
                <a16:creationId xmlns:a16="http://schemas.microsoft.com/office/drawing/2014/main" id="{A012C7BF-F23E-47EC-BED3-F850A75F4A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AABE8F02-EB19-4790-B2E1-05661FBE2CB3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2" name="Espace réservé du texte 15">
            <a:extLst>
              <a:ext uri="{FF2B5EF4-FFF2-40B4-BE49-F238E27FC236}">
                <a16:creationId xmlns:a16="http://schemas.microsoft.com/office/drawing/2014/main" id="{D079A6AC-191E-44A4-BB7B-180EAE6AB4E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2F2E5ECD-C2DB-463C-BAAF-D4458EDC74D8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4" name="TextBox 18">
            <a:extLst>
              <a:ext uri="{FF2B5EF4-FFF2-40B4-BE49-F238E27FC236}">
                <a16:creationId xmlns:a16="http://schemas.microsoft.com/office/drawing/2014/main" id="{1970A7D2-A5C8-45D1-A14E-563F6C9BDF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5" name="Rounded Rectangle 4">
            <a:extLst>
              <a:ext uri="{FF2B5EF4-FFF2-40B4-BE49-F238E27FC236}">
                <a16:creationId xmlns:a16="http://schemas.microsoft.com/office/drawing/2014/main" id="{C2813E36-1DD6-4B50-A8D4-63501EF79639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36" name="Espace réservé du texte 4">
            <a:extLst>
              <a:ext uri="{FF2B5EF4-FFF2-40B4-BE49-F238E27FC236}">
                <a16:creationId xmlns:a16="http://schemas.microsoft.com/office/drawing/2014/main" id="{5678C8A7-8079-4759-9D92-582502604FB4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37" name="TextBox 18">
            <a:extLst>
              <a:ext uri="{FF2B5EF4-FFF2-40B4-BE49-F238E27FC236}">
                <a16:creationId xmlns:a16="http://schemas.microsoft.com/office/drawing/2014/main" id="{3BA9D037-84A1-4AD7-B026-995A80AD3BC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8" name="Rounded Rectangle 4">
            <a:extLst>
              <a:ext uri="{FF2B5EF4-FFF2-40B4-BE49-F238E27FC236}">
                <a16:creationId xmlns:a16="http://schemas.microsoft.com/office/drawing/2014/main" id="{43D1AED7-8C27-4B84-8BCD-9EB4B7C3B124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9" name="Espace réservé du texte 48">
            <a:extLst>
              <a:ext uri="{FF2B5EF4-FFF2-40B4-BE49-F238E27FC236}">
                <a16:creationId xmlns:a16="http://schemas.microsoft.com/office/drawing/2014/main" id="{040B0113-D29C-42BD-BD69-3237A8B57A5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D0BBB45C-578D-4691-A0DC-69F24CD18DF6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1" name="TextBox 18">
            <a:extLst>
              <a:ext uri="{FF2B5EF4-FFF2-40B4-BE49-F238E27FC236}">
                <a16:creationId xmlns:a16="http://schemas.microsoft.com/office/drawing/2014/main" id="{39B16C87-957D-489A-90BA-5320ACC4CA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42" name="Espace réservé du texte 15">
            <a:extLst>
              <a:ext uri="{FF2B5EF4-FFF2-40B4-BE49-F238E27FC236}">
                <a16:creationId xmlns:a16="http://schemas.microsoft.com/office/drawing/2014/main" id="{A290D3C6-E535-4CB4-9E8A-8F6FB44AEC79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43" name="Espace réservé du texte 15">
            <a:extLst>
              <a:ext uri="{FF2B5EF4-FFF2-40B4-BE49-F238E27FC236}">
                <a16:creationId xmlns:a16="http://schemas.microsoft.com/office/drawing/2014/main" id="{13C2B0A3-5BEE-43AA-AD4D-C5E4B5B5406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44" name="TextBox 18">
            <a:extLst>
              <a:ext uri="{FF2B5EF4-FFF2-40B4-BE49-F238E27FC236}">
                <a16:creationId xmlns:a16="http://schemas.microsoft.com/office/drawing/2014/main" id="{6AD58D55-C034-4851-8DB4-446C78A2D26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ounded Rectangle 4">
            <a:extLst>
              <a:ext uri="{FF2B5EF4-FFF2-40B4-BE49-F238E27FC236}">
                <a16:creationId xmlns:a16="http://schemas.microsoft.com/office/drawing/2014/main" id="{B3D678E8-FC1F-4A1E-B3E3-3A2FEAB413C5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6" name="Espace réservé du texte 48">
            <a:extLst>
              <a:ext uri="{FF2B5EF4-FFF2-40B4-BE49-F238E27FC236}">
                <a16:creationId xmlns:a16="http://schemas.microsoft.com/office/drawing/2014/main" id="{9E70E586-2691-41D1-9A36-564140165E69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147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439E19D2-9CA0-4AFE-AC71-589ABFE96C9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Rectangle 147">
            <a:extLst>
              <a:ext uri="{FF2B5EF4-FFF2-40B4-BE49-F238E27FC236}">
                <a16:creationId xmlns:a16="http://schemas.microsoft.com/office/drawing/2014/main" id="{A1960F5B-291D-4390-8DD3-C8623563C21D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6E09E9ED-0E51-42F4-A8F7-6BAF709F52C3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4E7621AE-61D0-4495-914E-81695CBAB6E1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1" name="TextBox 18">
            <a:extLst>
              <a:ext uri="{FF2B5EF4-FFF2-40B4-BE49-F238E27FC236}">
                <a16:creationId xmlns:a16="http://schemas.microsoft.com/office/drawing/2014/main" id="{29E922D5-92FB-41D3-85F6-DAC66E7938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526201A1-F0AD-46EC-B565-6DAE79897B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3" name="TextBox 18">
            <a:extLst>
              <a:ext uri="{FF2B5EF4-FFF2-40B4-BE49-F238E27FC236}">
                <a16:creationId xmlns:a16="http://schemas.microsoft.com/office/drawing/2014/main" id="{325E994D-F3D7-4B64-B5C7-066FCD9A7B2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154" name="Picture 6" descr="Icône calendrier, avec, une, horloge, temps, outils">
            <a:extLst>
              <a:ext uri="{FF2B5EF4-FFF2-40B4-BE49-F238E27FC236}">
                <a16:creationId xmlns:a16="http://schemas.microsoft.com/office/drawing/2014/main" id="{A2B1AA85-C14C-433E-9F02-C0E7A2707D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8" descr="Icône fusée, lancement">
            <a:extLst>
              <a:ext uri="{FF2B5EF4-FFF2-40B4-BE49-F238E27FC236}">
                <a16:creationId xmlns:a16="http://schemas.microsoft.com/office/drawing/2014/main" id="{08F56F1D-E619-4E67-9934-22543067C63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10" descr="Icône levier">
            <a:extLst>
              <a:ext uri="{FF2B5EF4-FFF2-40B4-BE49-F238E27FC236}">
                <a16:creationId xmlns:a16="http://schemas.microsoft.com/office/drawing/2014/main" id="{46C207AD-6C4A-45D3-BB21-C4DF59ADE2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Flèche : droite 156">
            <a:extLst>
              <a:ext uri="{FF2B5EF4-FFF2-40B4-BE49-F238E27FC236}">
                <a16:creationId xmlns:a16="http://schemas.microsoft.com/office/drawing/2014/main" id="{56380935-4958-450B-98BF-8EA32299A9F4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9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8" name="Espace réservé du texte 3">
            <a:extLst>
              <a:ext uri="{FF2B5EF4-FFF2-40B4-BE49-F238E27FC236}">
                <a16:creationId xmlns:a16="http://schemas.microsoft.com/office/drawing/2014/main" id="{493262FD-C58D-43CC-8CAE-D489650C2EEB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159" name="Espace réservé du texte 3">
            <a:extLst>
              <a:ext uri="{FF2B5EF4-FFF2-40B4-BE49-F238E27FC236}">
                <a16:creationId xmlns:a16="http://schemas.microsoft.com/office/drawing/2014/main" id="{95615B56-73C9-435F-ABDF-1C283BF9AD0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160" name="Espace réservé du texte 3">
            <a:extLst>
              <a:ext uri="{FF2B5EF4-FFF2-40B4-BE49-F238E27FC236}">
                <a16:creationId xmlns:a16="http://schemas.microsoft.com/office/drawing/2014/main" id="{4475B144-A398-4C86-BDE7-2B91522D26E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7A1E41AE-E838-4ED4-A845-19BD353BB0EC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2" name="TextBox 18">
            <a:extLst>
              <a:ext uri="{FF2B5EF4-FFF2-40B4-BE49-F238E27FC236}">
                <a16:creationId xmlns:a16="http://schemas.microsoft.com/office/drawing/2014/main" id="{D9AA80EA-0344-4F14-9A1E-DE712139861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3" name="Espace réservé du texte 15">
            <a:extLst>
              <a:ext uri="{FF2B5EF4-FFF2-40B4-BE49-F238E27FC236}">
                <a16:creationId xmlns:a16="http://schemas.microsoft.com/office/drawing/2014/main" id="{6E82FBC5-57CB-4251-84D1-DA48786FB31E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164" name="ZoneTexte 163">
            <a:extLst>
              <a:ext uri="{FF2B5EF4-FFF2-40B4-BE49-F238E27FC236}">
                <a16:creationId xmlns:a16="http://schemas.microsoft.com/office/drawing/2014/main" id="{D09314AA-BBD2-45EA-9A7C-0F1CE2281C59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0097C2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165" name="ZoneTexte 164">
            <a:extLst>
              <a:ext uri="{FF2B5EF4-FFF2-40B4-BE49-F238E27FC236}">
                <a16:creationId xmlns:a16="http://schemas.microsoft.com/office/drawing/2014/main" id="{77189F61-84A2-4B5B-99A5-D625F289699A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E67FF28A-BB44-4792-AD03-C04E5923DB60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7" name="TextBox 18">
            <a:extLst>
              <a:ext uri="{FF2B5EF4-FFF2-40B4-BE49-F238E27FC236}">
                <a16:creationId xmlns:a16="http://schemas.microsoft.com/office/drawing/2014/main" id="{012B1107-42AC-4807-B430-A5DF558904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673F44F1-5727-474F-834B-EC89F08AE16F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9" name="TextBox 18">
            <a:extLst>
              <a:ext uri="{FF2B5EF4-FFF2-40B4-BE49-F238E27FC236}">
                <a16:creationId xmlns:a16="http://schemas.microsoft.com/office/drawing/2014/main" id="{935F7174-1778-487E-BD17-C0CE1BA62AA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0" name="TextBox 18">
            <a:extLst>
              <a:ext uri="{FF2B5EF4-FFF2-40B4-BE49-F238E27FC236}">
                <a16:creationId xmlns:a16="http://schemas.microsoft.com/office/drawing/2014/main" id="{4965AFB9-8194-455B-A6C1-A0A70547C2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1" name="TextBox 18">
            <a:extLst>
              <a:ext uri="{FF2B5EF4-FFF2-40B4-BE49-F238E27FC236}">
                <a16:creationId xmlns:a16="http://schemas.microsoft.com/office/drawing/2014/main" id="{CE58EF0B-FFE9-4D84-84A6-E1D2651D8E7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2" name="TextBox 18">
            <a:extLst>
              <a:ext uri="{FF2B5EF4-FFF2-40B4-BE49-F238E27FC236}">
                <a16:creationId xmlns:a16="http://schemas.microsoft.com/office/drawing/2014/main" id="{43D00A38-BBFE-490D-99A3-82D1EF3ABA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3" name="Espace réservé du texte 3">
            <a:extLst>
              <a:ext uri="{FF2B5EF4-FFF2-40B4-BE49-F238E27FC236}">
                <a16:creationId xmlns:a16="http://schemas.microsoft.com/office/drawing/2014/main" id="{816DEE14-DF91-4A9D-A3B7-CF997E4B7F6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</p:spTree>
    <p:extLst>
      <p:ext uri="{BB962C8B-B14F-4D97-AF65-F5344CB8AC3E}">
        <p14:creationId xmlns:p14="http://schemas.microsoft.com/office/powerpoint/2010/main" val="2925531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FAB000"/>
                </a:solidFill>
              </a:defRPr>
            </a:lvl1pPr>
          </a:lstStyle>
          <a:p>
            <a:r>
              <a:rPr lang="fr-FR" noProof="0"/>
              <a:t>Nouveaux moyens de production de biométhane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E7B7743E-9584-4E4B-9454-E60E71E91EAA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676143BC-D57F-4037-AE03-D547DAE4DC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5D98165F-0287-4E86-BE74-05292DEEC107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5" name="TextBox 18">
            <a:extLst>
              <a:ext uri="{FF2B5EF4-FFF2-40B4-BE49-F238E27FC236}">
                <a16:creationId xmlns:a16="http://schemas.microsoft.com/office/drawing/2014/main" id="{AF44147D-DFB4-49AE-80B6-B9A6DBE04B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A20FBAE-899F-4C19-83CB-296FDB2318B2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357ABC29-F383-4069-811E-C5E08E767F89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AF87BE8-E18A-4D03-8E82-93D32D4E1D63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4C08B35-EF79-4FFE-ABFD-43FA8D6D56D1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D1633DD8-D846-4C5B-8A41-B167020412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TextBox 18">
            <a:extLst>
              <a:ext uri="{FF2B5EF4-FFF2-40B4-BE49-F238E27FC236}">
                <a16:creationId xmlns:a16="http://schemas.microsoft.com/office/drawing/2014/main" id="{DA826B2D-91E0-464F-9B0E-A884554AF04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TextBox 18">
            <a:extLst>
              <a:ext uri="{FF2B5EF4-FFF2-40B4-BE49-F238E27FC236}">
                <a16:creationId xmlns:a16="http://schemas.microsoft.com/office/drawing/2014/main" id="{9B29E9FD-318F-4DBC-BACA-6E755E4DE71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6" name="Espace réservé du texte 53">
            <a:extLst>
              <a:ext uri="{FF2B5EF4-FFF2-40B4-BE49-F238E27FC236}">
                <a16:creationId xmlns:a16="http://schemas.microsoft.com/office/drawing/2014/main" id="{AE595A3D-288D-4E68-AB87-E2D0A7B05C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7" name="Espace réservé du texte 63">
            <a:extLst>
              <a:ext uri="{FF2B5EF4-FFF2-40B4-BE49-F238E27FC236}">
                <a16:creationId xmlns:a16="http://schemas.microsoft.com/office/drawing/2014/main" id="{4DEFE7BA-1EBA-461D-9B6E-DF909B7F1F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BC6DAC0-B966-4370-A9A1-8B143D60BE76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9" name="TextBox 18">
            <a:extLst>
              <a:ext uri="{FF2B5EF4-FFF2-40B4-BE49-F238E27FC236}">
                <a16:creationId xmlns:a16="http://schemas.microsoft.com/office/drawing/2014/main" id="{CF321708-6049-4C66-81F8-4FF42F0702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0" name="TextBox 18">
            <a:extLst>
              <a:ext uri="{FF2B5EF4-FFF2-40B4-BE49-F238E27FC236}">
                <a16:creationId xmlns:a16="http://schemas.microsoft.com/office/drawing/2014/main" id="{C81CA6CD-ECC4-4233-A258-709D7EBA2DD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AE6F10FB-A735-430A-850D-5F664C5049C0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2" name="Espace réservé du texte 55">
            <a:extLst>
              <a:ext uri="{FF2B5EF4-FFF2-40B4-BE49-F238E27FC236}">
                <a16:creationId xmlns:a16="http://schemas.microsoft.com/office/drawing/2014/main" id="{3B2882B1-7158-4389-9E40-A81432E62A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3" name="TextBox 18">
            <a:extLst>
              <a:ext uri="{FF2B5EF4-FFF2-40B4-BE49-F238E27FC236}">
                <a16:creationId xmlns:a16="http://schemas.microsoft.com/office/drawing/2014/main" id="{DAA618E5-2F03-49EE-BB5E-BEDE1161177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4" name="Espace réservé du texte 3">
            <a:extLst>
              <a:ext uri="{FF2B5EF4-FFF2-40B4-BE49-F238E27FC236}">
                <a16:creationId xmlns:a16="http://schemas.microsoft.com/office/drawing/2014/main" id="{111B631E-7C93-42AC-B639-58A58BBA749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5" name="Rounded Rectangle 4">
            <a:extLst>
              <a:ext uri="{FF2B5EF4-FFF2-40B4-BE49-F238E27FC236}">
                <a16:creationId xmlns:a16="http://schemas.microsoft.com/office/drawing/2014/main" id="{9E6EE61F-AC6F-421B-A801-AA27005E8CC3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6" name="Rounded Rectangle 4">
            <a:extLst>
              <a:ext uri="{FF2B5EF4-FFF2-40B4-BE49-F238E27FC236}">
                <a16:creationId xmlns:a16="http://schemas.microsoft.com/office/drawing/2014/main" id="{170CEB9E-DF34-47FB-B4B9-9CBCCDD2E93F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7" name="Espace réservé du texte 5">
            <a:extLst>
              <a:ext uri="{FF2B5EF4-FFF2-40B4-BE49-F238E27FC236}">
                <a16:creationId xmlns:a16="http://schemas.microsoft.com/office/drawing/2014/main" id="{0575F966-845E-4E81-9987-FA823EC67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8" name="Espace réservé du texte 46">
            <a:extLst>
              <a:ext uri="{FF2B5EF4-FFF2-40B4-BE49-F238E27FC236}">
                <a16:creationId xmlns:a16="http://schemas.microsoft.com/office/drawing/2014/main" id="{4FE3BE52-A3CA-49E2-925B-EB67C2577A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9" name="Espace réservé du texte 48">
            <a:extLst>
              <a:ext uri="{FF2B5EF4-FFF2-40B4-BE49-F238E27FC236}">
                <a16:creationId xmlns:a16="http://schemas.microsoft.com/office/drawing/2014/main" id="{ADDFEDAF-C442-4CB3-B77E-2A4293BEDBF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30" name="Rounded Rectangle 4">
            <a:extLst>
              <a:ext uri="{FF2B5EF4-FFF2-40B4-BE49-F238E27FC236}">
                <a16:creationId xmlns:a16="http://schemas.microsoft.com/office/drawing/2014/main" id="{8716BF9B-EF17-4CD5-B152-C87B3C743CE8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1" name="Espace réservé du texte 5">
            <a:extLst>
              <a:ext uri="{FF2B5EF4-FFF2-40B4-BE49-F238E27FC236}">
                <a16:creationId xmlns:a16="http://schemas.microsoft.com/office/drawing/2014/main" id="{164D206B-605B-4872-BDD2-9D0454422E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CE915A7-1418-4C68-A3E5-AD2B1BEF68B7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3" name="Espace réservé du texte 15">
            <a:extLst>
              <a:ext uri="{FF2B5EF4-FFF2-40B4-BE49-F238E27FC236}">
                <a16:creationId xmlns:a16="http://schemas.microsoft.com/office/drawing/2014/main" id="{EA51A6F3-4B38-43D4-8603-2E65994F425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7885ADC-6EE6-45C8-BC89-B8AD398E40B4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5" name="TextBox 18">
            <a:extLst>
              <a:ext uri="{FF2B5EF4-FFF2-40B4-BE49-F238E27FC236}">
                <a16:creationId xmlns:a16="http://schemas.microsoft.com/office/drawing/2014/main" id="{3B8A4C38-24F2-4E50-A26F-CC459E9083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6" name="Rounded Rectangle 4">
            <a:extLst>
              <a:ext uri="{FF2B5EF4-FFF2-40B4-BE49-F238E27FC236}">
                <a16:creationId xmlns:a16="http://schemas.microsoft.com/office/drawing/2014/main" id="{354FBFC9-C949-42DD-8473-51D9B060DE3B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37" name="Espace réservé du texte 4">
            <a:extLst>
              <a:ext uri="{FF2B5EF4-FFF2-40B4-BE49-F238E27FC236}">
                <a16:creationId xmlns:a16="http://schemas.microsoft.com/office/drawing/2014/main" id="{28A4147E-605E-4EF5-8C0F-3884CBA9637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38" name="TextBox 18">
            <a:extLst>
              <a:ext uri="{FF2B5EF4-FFF2-40B4-BE49-F238E27FC236}">
                <a16:creationId xmlns:a16="http://schemas.microsoft.com/office/drawing/2014/main" id="{A69C6B97-E24A-4A45-830F-BE53261E44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9" name="Rounded Rectangle 4">
            <a:extLst>
              <a:ext uri="{FF2B5EF4-FFF2-40B4-BE49-F238E27FC236}">
                <a16:creationId xmlns:a16="http://schemas.microsoft.com/office/drawing/2014/main" id="{0A9E1819-58F3-47D3-A394-912FCE9A9AEC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0" name="Espace réservé du texte 48">
            <a:extLst>
              <a:ext uri="{FF2B5EF4-FFF2-40B4-BE49-F238E27FC236}">
                <a16:creationId xmlns:a16="http://schemas.microsoft.com/office/drawing/2014/main" id="{B401020D-E7E1-4A42-B4CB-0B5B0567DD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56F423A-92C1-43D4-ABF1-31070C9EBC87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2" name="TextBox 18">
            <a:extLst>
              <a:ext uri="{FF2B5EF4-FFF2-40B4-BE49-F238E27FC236}">
                <a16:creationId xmlns:a16="http://schemas.microsoft.com/office/drawing/2014/main" id="{8BEBA99D-EA41-437C-902B-C5FEFD2A90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43" name="Espace réservé du texte 15">
            <a:extLst>
              <a:ext uri="{FF2B5EF4-FFF2-40B4-BE49-F238E27FC236}">
                <a16:creationId xmlns:a16="http://schemas.microsoft.com/office/drawing/2014/main" id="{1D4AF513-242B-455D-97CD-89A807953DD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44" name="Espace réservé du texte 15">
            <a:extLst>
              <a:ext uri="{FF2B5EF4-FFF2-40B4-BE49-F238E27FC236}">
                <a16:creationId xmlns:a16="http://schemas.microsoft.com/office/drawing/2014/main" id="{82C029AB-5DA3-489D-8AEF-8BE72853133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45" name="TextBox 18">
            <a:extLst>
              <a:ext uri="{FF2B5EF4-FFF2-40B4-BE49-F238E27FC236}">
                <a16:creationId xmlns:a16="http://schemas.microsoft.com/office/drawing/2014/main" id="{15AD6269-FFDC-4924-971A-6B62AC2949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ounded Rectangle 4">
            <a:extLst>
              <a:ext uri="{FF2B5EF4-FFF2-40B4-BE49-F238E27FC236}">
                <a16:creationId xmlns:a16="http://schemas.microsoft.com/office/drawing/2014/main" id="{8DA42EF2-C92B-487E-976F-06B6839E3919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7" name="Espace réservé du texte 48">
            <a:extLst>
              <a:ext uri="{FF2B5EF4-FFF2-40B4-BE49-F238E27FC236}">
                <a16:creationId xmlns:a16="http://schemas.microsoft.com/office/drawing/2014/main" id="{88C8579C-931F-49FB-9AE8-B75AFC4560C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148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C6F08C15-0F1C-4BB9-8E9D-CA34CCC58B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22E8D725-A225-4085-82F4-D864C28100BF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CEE44D88-6E36-43B1-8B07-8D9A5068F7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8D6A316-870C-4C59-849F-5397FA64970F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D22CEA19-EA08-4859-88AA-1F9090ACB2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3" name="TextBox 18">
            <a:extLst>
              <a:ext uri="{FF2B5EF4-FFF2-40B4-BE49-F238E27FC236}">
                <a16:creationId xmlns:a16="http://schemas.microsoft.com/office/drawing/2014/main" id="{22D5FEE2-FE83-49B0-B5DB-591D0FD158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4" name="TextBox 18">
            <a:extLst>
              <a:ext uri="{FF2B5EF4-FFF2-40B4-BE49-F238E27FC236}">
                <a16:creationId xmlns:a16="http://schemas.microsoft.com/office/drawing/2014/main" id="{74D64CE3-C175-4E2F-BAED-5B4C9160DB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155" name="Picture 6" descr="Icône calendrier, avec, une, horloge, temps, outils">
            <a:extLst>
              <a:ext uri="{FF2B5EF4-FFF2-40B4-BE49-F238E27FC236}">
                <a16:creationId xmlns:a16="http://schemas.microsoft.com/office/drawing/2014/main" id="{91DDD284-6F54-4799-97A0-B6F2F40CE9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8" descr="Icône fusée, lancement">
            <a:extLst>
              <a:ext uri="{FF2B5EF4-FFF2-40B4-BE49-F238E27FC236}">
                <a16:creationId xmlns:a16="http://schemas.microsoft.com/office/drawing/2014/main" id="{CF14D912-8C2B-40F2-9DEA-F201D565D3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10" descr="Icône levier">
            <a:extLst>
              <a:ext uri="{FF2B5EF4-FFF2-40B4-BE49-F238E27FC236}">
                <a16:creationId xmlns:a16="http://schemas.microsoft.com/office/drawing/2014/main" id="{A0E90B55-F7B0-476B-B51B-3A8415F851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8" name="Flèche : droite 157">
            <a:extLst>
              <a:ext uri="{FF2B5EF4-FFF2-40B4-BE49-F238E27FC236}">
                <a16:creationId xmlns:a16="http://schemas.microsoft.com/office/drawing/2014/main" id="{F9061CC5-F5E6-4AD7-8284-EB914A79EDE4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9" name="Espace réservé du texte 3">
            <a:extLst>
              <a:ext uri="{FF2B5EF4-FFF2-40B4-BE49-F238E27FC236}">
                <a16:creationId xmlns:a16="http://schemas.microsoft.com/office/drawing/2014/main" id="{0D5F1523-BD08-4F91-825E-21AE65EFC3A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160" name="Espace réservé du texte 3">
            <a:extLst>
              <a:ext uri="{FF2B5EF4-FFF2-40B4-BE49-F238E27FC236}">
                <a16:creationId xmlns:a16="http://schemas.microsoft.com/office/drawing/2014/main" id="{9F2C75F3-927C-428A-9F95-0313CEFE42D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161" name="Espace réservé du texte 3">
            <a:extLst>
              <a:ext uri="{FF2B5EF4-FFF2-40B4-BE49-F238E27FC236}">
                <a16:creationId xmlns:a16="http://schemas.microsoft.com/office/drawing/2014/main" id="{183061FB-E6A2-4D7D-A13D-341E90339D0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1907C6A-27CB-46D7-A851-8F589C6968AE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3" name="TextBox 18">
            <a:extLst>
              <a:ext uri="{FF2B5EF4-FFF2-40B4-BE49-F238E27FC236}">
                <a16:creationId xmlns:a16="http://schemas.microsoft.com/office/drawing/2014/main" id="{8352F505-467D-4428-98AE-BD49F355FE3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4" name="Espace réservé du texte 15">
            <a:extLst>
              <a:ext uri="{FF2B5EF4-FFF2-40B4-BE49-F238E27FC236}">
                <a16:creationId xmlns:a16="http://schemas.microsoft.com/office/drawing/2014/main" id="{99080A66-2EA4-4008-BE6E-31FC53D6F99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165" name="ZoneTexte 164">
            <a:extLst>
              <a:ext uri="{FF2B5EF4-FFF2-40B4-BE49-F238E27FC236}">
                <a16:creationId xmlns:a16="http://schemas.microsoft.com/office/drawing/2014/main" id="{6AA644BE-87D7-4740-8E59-81396656C2F1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166" name="ZoneTexte 165">
            <a:extLst>
              <a:ext uri="{FF2B5EF4-FFF2-40B4-BE49-F238E27FC236}">
                <a16:creationId xmlns:a16="http://schemas.microsoft.com/office/drawing/2014/main" id="{FE920324-4AEA-42C9-9440-161780149702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E9FE639B-6B0C-49C0-9DF0-C0A9AD3AA202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8" name="TextBox 18">
            <a:extLst>
              <a:ext uri="{FF2B5EF4-FFF2-40B4-BE49-F238E27FC236}">
                <a16:creationId xmlns:a16="http://schemas.microsoft.com/office/drawing/2014/main" id="{BA9923E1-D264-4806-896A-E629794220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F39A008D-4137-473F-8ADA-9572A1B42AE0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0" name="TextBox 18">
            <a:extLst>
              <a:ext uri="{FF2B5EF4-FFF2-40B4-BE49-F238E27FC236}">
                <a16:creationId xmlns:a16="http://schemas.microsoft.com/office/drawing/2014/main" id="{B40A7AAF-5A8C-44C9-8357-8B512FE4CC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1" name="TextBox 18">
            <a:extLst>
              <a:ext uri="{FF2B5EF4-FFF2-40B4-BE49-F238E27FC236}">
                <a16:creationId xmlns:a16="http://schemas.microsoft.com/office/drawing/2014/main" id="{5A8C4655-FE72-4C3C-9F00-F7722345AE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2" name="TextBox 18">
            <a:extLst>
              <a:ext uri="{FF2B5EF4-FFF2-40B4-BE49-F238E27FC236}">
                <a16:creationId xmlns:a16="http://schemas.microsoft.com/office/drawing/2014/main" id="{03EBA27B-7A3F-4E31-8CC8-F615EB01C6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3" name="TextBox 18">
            <a:extLst>
              <a:ext uri="{FF2B5EF4-FFF2-40B4-BE49-F238E27FC236}">
                <a16:creationId xmlns:a16="http://schemas.microsoft.com/office/drawing/2014/main" id="{0E5F77AA-47ED-4621-A878-A4221AF8C5E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4" name="Espace réservé du texte 3">
            <a:extLst>
              <a:ext uri="{FF2B5EF4-FFF2-40B4-BE49-F238E27FC236}">
                <a16:creationId xmlns:a16="http://schemas.microsoft.com/office/drawing/2014/main" id="{08CA272D-C57A-45E4-AAFA-9484077DEC3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</p:spTree>
    <p:extLst>
      <p:ext uri="{BB962C8B-B14F-4D97-AF65-F5344CB8AC3E}">
        <p14:creationId xmlns:p14="http://schemas.microsoft.com/office/powerpoint/2010/main" val="25775293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FAB000"/>
                </a:solidFill>
              </a:defRPr>
            </a:lvl1pPr>
          </a:lstStyle>
          <a:p>
            <a:r>
              <a:rPr lang="fr-FR" noProof="0"/>
              <a:t>Nouveaux moyens de production de biométhane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5EE77AFA-43DC-45EE-9113-EC8EECEAF0EB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676143BC-D57F-4037-AE03-D547DAE4DC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96" name="Rectangle 95">
            <a:extLst>
              <a:ext uri="{FF2B5EF4-FFF2-40B4-BE49-F238E27FC236}">
                <a16:creationId xmlns:a16="http://schemas.microsoft.com/office/drawing/2014/main" id="{1A20FBAE-899F-4C19-83CB-296FDB2318B2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AF87BE8-E18A-4D03-8E82-93D32D4E1D63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4C08B35-EF79-4FFE-ABFD-43FA8D6D56D1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D1633DD8-D846-4C5B-8A41-B167020412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TextBox 18">
            <a:extLst>
              <a:ext uri="{FF2B5EF4-FFF2-40B4-BE49-F238E27FC236}">
                <a16:creationId xmlns:a16="http://schemas.microsoft.com/office/drawing/2014/main" id="{9B29E9FD-318F-4DBC-BACA-6E755E4DE71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6" name="Espace réservé du texte 53">
            <a:extLst>
              <a:ext uri="{FF2B5EF4-FFF2-40B4-BE49-F238E27FC236}">
                <a16:creationId xmlns:a16="http://schemas.microsoft.com/office/drawing/2014/main" id="{AE595A3D-288D-4E68-AB87-E2D0A7B05C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7" name="Espace réservé du texte 63">
            <a:extLst>
              <a:ext uri="{FF2B5EF4-FFF2-40B4-BE49-F238E27FC236}">
                <a16:creationId xmlns:a16="http://schemas.microsoft.com/office/drawing/2014/main" id="{4DEFE7BA-1EBA-461D-9B6E-DF909B7F1F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BC6DAC0-B966-4370-A9A1-8B143D60BE76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9" name="TextBox 18">
            <a:extLst>
              <a:ext uri="{FF2B5EF4-FFF2-40B4-BE49-F238E27FC236}">
                <a16:creationId xmlns:a16="http://schemas.microsoft.com/office/drawing/2014/main" id="{CF321708-6049-4C66-81F8-4FF42F0702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0" name="TextBox 18">
            <a:extLst>
              <a:ext uri="{FF2B5EF4-FFF2-40B4-BE49-F238E27FC236}">
                <a16:creationId xmlns:a16="http://schemas.microsoft.com/office/drawing/2014/main" id="{C81CA6CD-ECC4-4233-A258-709D7EBA2DD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AE6F10FB-A735-430A-850D-5F664C5049C0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2" name="Espace réservé du texte 55">
            <a:extLst>
              <a:ext uri="{FF2B5EF4-FFF2-40B4-BE49-F238E27FC236}">
                <a16:creationId xmlns:a16="http://schemas.microsoft.com/office/drawing/2014/main" id="{3B2882B1-7158-4389-9E40-A81432E62A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3" name="TextBox 18">
            <a:extLst>
              <a:ext uri="{FF2B5EF4-FFF2-40B4-BE49-F238E27FC236}">
                <a16:creationId xmlns:a16="http://schemas.microsoft.com/office/drawing/2014/main" id="{DAA618E5-2F03-49EE-BB5E-BEDE1161177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5" name="Rounded Rectangle 4">
            <a:extLst>
              <a:ext uri="{FF2B5EF4-FFF2-40B4-BE49-F238E27FC236}">
                <a16:creationId xmlns:a16="http://schemas.microsoft.com/office/drawing/2014/main" id="{9E6EE61F-AC6F-421B-A801-AA27005E8CC3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6" name="Rounded Rectangle 4">
            <a:extLst>
              <a:ext uri="{FF2B5EF4-FFF2-40B4-BE49-F238E27FC236}">
                <a16:creationId xmlns:a16="http://schemas.microsoft.com/office/drawing/2014/main" id="{170CEB9E-DF34-47FB-B4B9-9CBCCDD2E93F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7" name="Espace réservé du texte 5">
            <a:extLst>
              <a:ext uri="{FF2B5EF4-FFF2-40B4-BE49-F238E27FC236}">
                <a16:creationId xmlns:a16="http://schemas.microsoft.com/office/drawing/2014/main" id="{0575F966-845E-4E81-9987-FA823EC67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8" name="Espace réservé du texte 46">
            <a:extLst>
              <a:ext uri="{FF2B5EF4-FFF2-40B4-BE49-F238E27FC236}">
                <a16:creationId xmlns:a16="http://schemas.microsoft.com/office/drawing/2014/main" id="{4FE3BE52-A3CA-49E2-925B-EB67C2577A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9" name="Espace réservé du texte 48">
            <a:extLst>
              <a:ext uri="{FF2B5EF4-FFF2-40B4-BE49-F238E27FC236}">
                <a16:creationId xmlns:a16="http://schemas.microsoft.com/office/drawing/2014/main" id="{ADDFEDAF-C442-4CB3-B77E-2A4293BEDBF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30" name="Rounded Rectangle 4">
            <a:extLst>
              <a:ext uri="{FF2B5EF4-FFF2-40B4-BE49-F238E27FC236}">
                <a16:creationId xmlns:a16="http://schemas.microsoft.com/office/drawing/2014/main" id="{8716BF9B-EF17-4CD5-B152-C87B3C743CE8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1" name="Espace réservé du texte 5">
            <a:extLst>
              <a:ext uri="{FF2B5EF4-FFF2-40B4-BE49-F238E27FC236}">
                <a16:creationId xmlns:a16="http://schemas.microsoft.com/office/drawing/2014/main" id="{164D206B-605B-4872-BDD2-9D0454422E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CE915A7-1418-4C68-A3E5-AD2B1BEF68B7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3" name="Espace réservé du texte 15">
            <a:extLst>
              <a:ext uri="{FF2B5EF4-FFF2-40B4-BE49-F238E27FC236}">
                <a16:creationId xmlns:a16="http://schemas.microsoft.com/office/drawing/2014/main" id="{EA51A6F3-4B38-43D4-8603-2E65994F425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7885ADC-6EE6-45C8-BC89-B8AD398E40B4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5" name="TextBox 18">
            <a:extLst>
              <a:ext uri="{FF2B5EF4-FFF2-40B4-BE49-F238E27FC236}">
                <a16:creationId xmlns:a16="http://schemas.microsoft.com/office/drawing/2014/main" id="{3B8A4C38-24F2-4E50-A26F-CC459E9083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6" name="Rounded Rectangle 4">
            <a:extLst>
              <a:ext uri="{FF2B5EF4-FFF2-40B4-BE49-F238E27FC236}">
                <a16:creationId xmlns:a16="http://schemas.microsoft.com/office/drawing/2014/main" id="{354FBFC9-C949-42DD-8473-51D9B060DE3B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37" name="Espace réservé du texte 4">
            <a:extLst>
              <a:ext uri="{FF2B5EF4-FFF2-40B4-BE49-F238E27FC236}">
                <a16:creationId xmlns:a16="http://schemas.microsoft.com/office/drawing/2014/main" id="{28A4147E-605E-4EF5-8C0F-3884CBA9637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38" name="TextBox 18">
            <a:extLst>
              <a:ext uri="{FF2B5EF4-FFF2-40B4-BE49-F238E27FC236}">
                <a16:creationId xmlns:a16="http://schemas.microsoft.com/office/drawing/2014/main" id="{A69C6B97-E24A-4A45-830F-BE53261E44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9" name="Rounded Rectangle 4">
            <a:extLst>
              <a:ext uri="{FF2B5EF4-FFF2-40B4-BE49-F238E27FC236}">
                <a16:creationId xmlns:a16="http://schemas.microsoft.com/office/drawing/2014/main" id="{0A9E1819-58F3-47D3-A394-912FCE9A9AEC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0" name="Espace réservé du texte 48">
            <a:extLst>
              <a:ext uri="{FF2B5EF4-FFF2-40B4-BE49-F238E27FC236}">
                <a16:creationId xmlns:a16="http://schemas.microsoft.com/office/drawing/2014/main" id="{B401020D-E7E1-4A42-B4CB-0B5B0567DD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56F423A-92C1-43D4-ABF1-31070C9EBC87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2" name="TextBox 18">
            <a:extLst>
              <a:ext uri="{FF2B5EF4-FFF2-40B4-BE49-F238E27FC236}">
                <a16:creationId xmlns:a16="http://schemas.microsoft.com/office/drawing/2014/main" id="{8BEBA99D-EA41-437C-902B-C5FEFD2A90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43" name="Espace réservé du texte 15">
            <a:extLst>
              <a:ext uri="{FF2B5EF4-FFF2-40B4-BE49-F238E27FC236}">
                <a16:creationId xmlns:a16="http://schemas.microsoft.com/office/drawing/2014/main" id="{1D4AF513-242B-455D-97CD-89A807953DD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44" name="Espace réservé du texte 15">
            <a:extLst>
              <a:ext uri="{FF2B5EF4-FFF2-40B4-BE49-F238E27FC236}">
                <a16:creationId xmlns:a16="http://schemas.microsoft.com/office/drawing/2014/main" id="{82C029AB-5DA3-489D-8AEF-8BE72853133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45" name="TextBox 18">
            <a:extLst>
              <a:ext uri="{FF2B5EF4-FFF2-40B4-BE49-F238E27FC236}">
                <a16:creationId xmlns:a16="http://schemas.microsoft.com/office/drawing/2014/main" id="{15AD6269-FFDC-4924-971A-6B62AC2949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ounded Rectangle 4">
            <a:extLst>
              <a:ext uri="{FF2B5EF4-FFF2-40B4-BE49-F238E27FC236}">
                <a16:creationId xmlns:a16="http://schemas.microsoft.com/office/drawing/2014/main" id="{8DA42EF2-C92B-487E-976F-06B6839E3919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7" name="Espace réservé du texte 48">
            <a:extLst>
              <a:ext uri="{FF2B5EF4-FFF2-40B4-BE49-F238E27FC236}">
                <a16:creationId xmlns:a16="http://schemas.microsoft.com/office/drawing/2014/main" id="{88C8579C-931F-49FB-9AE8-B75AFC4560C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148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C6F08C15-0F1C-4BB9-8E9D-CA34CCC58B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22E8D725-A225-4085-82F4-D864C28100BF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CEE44D88-6E36-43B1-8B07-8D9A5068F7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8D6A316-870C-4C59-849F-5397FA64970F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D22CEA19-EA08-4859-88AA-1F9090ACB2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3" name="TextBox 18">
            <a:extLst>
              <a:ext uri="{FF2B5EF4-FFF2-40B4-BE49-F238E27FC236}">
                <a16:creationId xmlns:a16="http://schemas.microsoft.com/office/drawing/2014/main" id="{22D5FEE2-FE83-49B0-B5DB-591D0FD158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4" name="TextBox 18">
            <a:extLst>
              <a:ext uri="{FF2B5EF4-FFF2-40B4-BE49-F238E27FC236}">
                <a16:creationId xmlns:a16="http://schemas.microsoft.com/office/drawing/2014/main" id="{74D64CE3-C175-4E2F-BAED-5B4C9160DB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155" name="Picture 6" descr="Icône calendrier, avec, une, horloge, temps, outils">
            <a:extLst>
              <a:ext uri="{FF2B5EF4-FFF2-40B4-BE49-F238E27FC236}">
                <a16:creationId xmlns:a16="http://schemas.microsoft.com/office/drawing/2014/main" id="{91DDD284-6F54-4799-97A0-B6F2F40CE9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8" descr="Icône fusée, lancement">
            <a:extLst>
              <a:ext uri="{FF2B5EF4-FFF2-40B4-BE49-F238E27FC236}">
                <a16:creationId xmlns:a16="http://schemas.microsoft.com/office/drawing/2014/main" id="{CF14D912-8C2B-40F2-9DEA-F201D565D3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10" descr="Icône levier">
            <a:extLst>
              <a:ext uri="{FF2B5EF4-FFF2-40B4-BE49-F238E27FC236}">
                <a16:creationId xmlns:a16="http://schemas.microsoft.com/office/drawing/2014/main" id="{A0E90B55-F7B0-476B-B51B-3A8415F851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8" name="Flèche : droite 157">
            <a:extLst>
              <a:ext uri="{FF2B5EF4-FFF2-40B4-BE49-F238E27FC236}">
                <a16:creationId xmlns:a16="http://schemas.microsoft.com/office/drawing/2014/main" id="{F9061CC5-F5E6-4AD7-8284-EB914A79EDE4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9" name="Espace réservé du texte 3">
            <a:extLst>
              <a:ext uri="{FF2B5EF4-FFF2-40B4-BE49-F238E27FC236}">
                <a16:creationId xmlns:a16="http://schemas.microsoft.com/office/drawing/2014/main" id="{0D5F1523-BD08-4F91-825E-21AE65EFC3A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160" name="Espace réservé du texte 3">
            <a:extLst>
              <a:ext uri="{FF2B5EF4-FFF2-40B4-BE49-F238E27FC236}">
                <a16:creationId xmlns:a16="http://schemas.microsoft.com/office/drawing/2014/main" id="{9F2C75F3-927C-428A-9F95-0313CEFE42D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161" name="Espace réservé du texte 3">
            <a:extLst>
              <a:ext uri="{FF2B5EF4-FFF2-40B4-BE49-F238E27FC236}">
                <a16:creationId xmlns:a16="http://schemas.microsoft.com/office/drawing/2014/main" id="{183061FB-E6A2-4D7D-A13D-341E90339D0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1907C6A-27CB-46D7-A851-8F589C6968AE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3" name="TextBox 18">
            <a:extLst>
              <a:ext uri="{FF2B5EF4-FFF2-40B4-BE49-F238E27FC236}">
                <a16:creationId xmlns:a16="http://schemas.microsoft.com/office/drawing/2014/main" id="{8352F505-467D-4428-98AE-BD49F355FE3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4" name="Espace réservé du texte 15">
            <a:extLst>
              <a:ext uri="{FF2B5EF4-FFF2-40B4-BE49-F238E27FC236}">
                <a16:creationId xmlns:a16="http://schemas.microsoft.com/office/drawing/2014/main" id="{99080A66-2EA4-4008-BE6E-31FC53D6F99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165" name="ZoneTexte 164">
            <a:extLst>
              <a:ext uri="{FF2B5EF4-FFF2-40B4-BE49-F238E27FC236}">
                <a16:creationId xmlns:a16="http://schemas.microsoft.com/office/drawing/2014/main" id="{6AA644BE-87D7-4740-8E59-81396656C2F1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166" name="ZoneTexte 165">
            <a:extLst>
              <a:ext uri="{FF2B5EF4-FFF2-40B4-BE49-F238E27FC236}">
                <a16:creationId xmlns:a16="http://schemas.microsoft.com/office/drawing/2014/main" id="{FE920324-4AEA-42C9-9440-161780149702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E9FE639B-6B0C-49C0-9DF0-C0A9AD3AA202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FFC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8" name="TextBox 18">
            <a:extLst>
              <a:ext uri="{FF2B5EF4-FFF2-40B4-BE49-F238E27FC236}">
                <a16:creationId xmlns:a16="http://schemas.microsoft.com/office/drawing/2014/main" id="{BA9923E1-D264-4806-896A-E629794220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F39A008D-4137-473F-8ADA-9572A1B42AE0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0" name="TextBox 18">
            <a:extLst>
              <a:ext uri="{FF2B5EF4-FFF2-40B4-BE49-F238E27FC236}">
                <a16:creationId xmlns:a16="http://schemas.microsoft.com/office/drawing/2014/main" id="{B40A7AAF-5A8C-44C9-8357-8B512FE4CC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1" name="TextBox 18">
            <a:extLst>
              <a:ext uri="{FF2B5EF4-FFF2-40B4-BE49-F238E27FC236}">
                <a16:creationId xmlns:a16="http://schemas.microsoft.com/office/drawing/2014/main" id="{5A8C4655-FE72-4C3C-9F00-F7722345AE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2" name="TextBox 18">
            <a:extLst>
              <a:ext uri="{FF2B5EF4-FFF2-40B4-BE49-F238E27FC236}">
                <a16:creationId xmlns:a16="http://schemas.microsoft.com/office/drawing/2014/main" id="{03EBA27B-7A3F-4E31-8CC8-F615EB01C6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3" name="TextBox 18">
            <a:extLst>
              <a:ext uri="{FF2B5EF4-FFF2-40B4-BE49-F238E27FC236}">
                <a16:creationId xmlns:a16="http://schemas.microsoft.com/office/drawing/2014/main" id="{0E5F77AA-47ED-4621-A878-A4221AF8C5E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4" name="Espace réservé du texte 3">
            <a:extLst>
              <a:ext uri="{FF2B5EF4-FFF2-40B4-BE49-F238E27FC236}">
                <a16:creationId xmlns:a16="http://schemas.microsoft.com/office/drawing/2014/main" id="{08CA272D-C57A-45E4-AAFA-9484077DEC3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5C10D71-0932-45C7-93FA-77A15863FB5F}"/>
              </a:ext>
            </a:extLst>
          </p:cNvPr>
          <p:cNvSpPr/>
          <p:nvPr userDrawn="1"/>
        </p:nvSpPr>
        <p:spPr>
          <a:xfrm>
            <a:off x="3967839" y="1696356"/>
            <a:ext cx="3237902" cy="194405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718D5008-9BBB-452D-BA91-E7DE9C655E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F2503DB-DE10-4B97-B9F6-5E1157EF8B75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9" name="TextBox 18">
            <a:extLst>
              <a:ext uri="{FF2B5EF4-FFF2-40B4-BE49-F238E27FC236}">
                <a16:creationId xmlns:a16="http://schemas.microsoft.com/office/drawing/2014/main" id="{AC4C1DC6-9874-47BC-A037-50192E610B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64CF4B3A-7BEC-4E13-A41B-12F8C80311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168885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93AC310-D7F9-401E-AAC8-831D77F4F432}"/>
              </a:ext>
            </a:extLst>
          </p:cNvPr>
          <p:cNvSpPr/>
          <p:nvPr userDrawn="1"/>
        </p:nvSpPr>
        <p:spPr>
          <a:xfrm>
            <a:off x="3967839" y="3805780"/>
            <a:ext cx="3236847" cy="49615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2" name="TextBox 18">
            <a:extLst>
              <a:ext uri="{FF2B5EF4-FFF2-40B4-BE49-F238E27FC236}">
                <a16:creationId xmlns:a16="http://schemas.microsoft.com/office/drawing/2014/main" id="{39DA12D8-F74C-4C67-8D66-04270DDA25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3721412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84" name="Espace réservé du texte 3">
            <a:extLst>
              <a:ext uri="{FF2B5EF4-FFF2-40B4-BE49-F238E27FC236}">
                <a16:creationId xmlns:a16="http://schemas.microsoft.com/office/drawing/2014/main" id="{6F596084-87C4-4430-845B-C50CE769A23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96378" y="3924361"/>
            <a:ext cx="3007642" cy="31363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</p:spTree>
    <p:extLst>
      <p:ext uri="{BB962C8B-B14F-4D97-AF65-F5344CB8AC3E}">
        <p14:creationId xmlns:p14="http://schemas.microsoft.com/office/powerpoint/2010/main" val="2168789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  <a:ln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FAB000"/>
                </a:solidFill>
              </a:defRPr>
            </a:lvl1pPr>
          </a:lstStyle>
          <a:p>
            <a:r>
              <a:rPr lang="fr-FR" noProof="0"/>
              <a:t>Nouveaux moyens de production de biométhane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4C81950A-60E4-488A-98BC-350E70B2C26B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FAB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FAB000"/>
                </a:solidFill>
                <a:latin typeface="+mn-lt"/>
                <a:ea typeface="+mn-ea"/>
                <a:cs typeface="+mn-cs"/>
              </a:rPr>
              <a:t>Crédibiliser les nouveaux moyens de production </a:t>
            </a:r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676143BC-D57F-4037-AE03-D547DAE4DC8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89" name="ZoneTexte 88">
            <a:extLst>
              <a:ext uri="{FF2B5EF4-FFF2-40B4-BE49-F238E27FC236}">
                <a16:creationId xmlns:a16="http://schemas.microsoft.com/office/drawing/2014/main" id="{E6BCD0D0-B28B-4432-9DA2-59FA53F5008D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</p:spTree>
    <p:extLst>
      <p:ext uri="{BB962C8B-B14F-4D97-AF65-F5344CB8AC3E}">
        <p14:creationId xmlns:p14="http://schemas.microsoft.com/office/powerpoint/2010/main" val="11566382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194405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168885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  <a:ln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FAB000"/>
                </a:solidFill>
              </a:defRPr>
            </a:lvl1pPr>
          </a:lstStyle>
          <a:p>
            <a:r>
              <a:rPr lang="fr-FR" noProof="0"/>
              <a:t>Nouveaux moyens de production de biométhane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AEAD5E5A-6C36-46F0-BC79-D606AC20E1E3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FAB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FAB000"/>
                </a:solidFill>
                <a:latin typeface="+mn-lt"/>
                <a:ea typeface="+mn-ea"/>
                <a:cs typeface="+mn-cs"/>
              </a:rPr>
              <a:t>Crédibiliser les nouveaux moyens de production </a:t>
            </a:r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676143BC-D57F-4037-AE03-D547DAE4DC8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89" name="ZoneTexte 88">
            <a:extLst>
              <a:ext uri="{FF2B5EF4-FFF2-40B4-BE49-F238E27FC236}">
                <a16:creationId xmlns:a16="http://schemas.microsoft.com/office/drawing/2014/main" id="{E6BCD0D0-B28B-4432-9DA2-59FA53F5008D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4C3A7567-7D78-48DA-BCA6-A856162E25F0}"/>
              </a:ext>
            </a:extLst>
          </p:cNvPr>
          <p:cNvSpPr/>
          <p:nvPr userDrawn="1"/>
        </p:nvSpPr>
        <p:spPr>
          <a:xfrm>
            <a:off x="3967839" y="3805780"/>
            <a:ext cx="3236847" cy="49615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5" name="TextBox 18">
            <a:extLst>
              <a:ext uri="{FF2B5EF4-FFF2-40B4-BE49-F238E27FC236}">
                <a16:creationId xmlns:a16="http://schemas.microsoft.com/office/drawing/2014/main" id="{87E1D9DD-226E-4B2F-A579-F3B39E13E4D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3721412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6" name="Espace réservé du texte 3">
            <a:extLst>
              <a:ext uri="{FF2B5EF4-FFF2-40B4-BE49-F238E27FC236}">
                <a16:creationId xmlns:a16="http://schemas.microsoft.com/office/drawing/2014/main" id="{A3642176-221D-4E1A-83F8-2968F52E429C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096378" y="3924361"/>
            <a:ext cx="3007642" cy="31363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</p:spTree>
    <p:extLst>
      <p:ext uri="{BB962C8B-B14F-4D97-AF65-F5344CB8AC3E}">
        <p14:creationId xmlns:p14="http://schemas.microsoft.com/office/powerpoint/2010/main" val="40004760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00B1AF"/>
                </a:solidFill>
              </a:defRPr>
            </a:lvl1pPr>
          </a:lstStyle>
          <a:p>
            <a:r>
              <a:rPr lang="fr-FR" noProof="0"/>
              <a:t>Sécurité injection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769786E4-4451-46DA-ABBC-B1EC1F816BDB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F6CCCD99-A8DD-4F38-A129-BCFD053CBA0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91" name="Rectangle 90">
            <a:extLst>
              <a:ext uri="{FF2B5EF4-FFF2-40B4-BE49-F238E27FC236}">
                <a16:creationId xmlns:a16="http://schemas.microsoft.com/office/drawing/2014/main" id="{111AF11E-883E-46F7-B269-5878E9686354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5" name="TextBox 18">
            <a:extLst>
              <a:ext uri="{FF2B5EF4-FFF2-40B4-BE49-F238E27FC236}">
                <a16:creationId xmlns:a16="http://schemas.microsoft.com/office/drawing/2014/main" id="{9D386F84-F28A-492F-A866-9FA9BF30914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4CDC9382-32D3-4381-97EE-527521467A4E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19A30E37-502A-40B3-96D0-86251C1B5673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9C39EB3D-8F65-476E-8E72-E7ACA11C9CD8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66750C9B-ECDB-4D10-859F-4482EACE51BA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951F0AB2-9D33-4884-94EA-380575B9C9D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TextBox 18">
            <a:extLst>
              <a:ext uri="{FF2B5EF4-FFF2-40B4-BE49-F238E27FC236}">
                <a16:creationId xmlns:a16="http://schemas.microsoft.com/office/drawing/2014/main" id="{3343868B-4085-49E7-B550-16E10BAAC8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TextBox 18">
            <a:extLst>
              <a:ext uri="{FF2B5EF4-FFF2-40B4-BE49-F238E27FC236}">
                <a16:creationId xmlns:a16="http://schemas.microsoft.com/office/drawing/2014/main" id="{046EFE13-B815-4231-B967-3CA50A6E825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6" name="Espace réservé du texte 53">
            <a:extLst>
              <a:ext uri="{FF2B5EF4-FFF2-40B4-BE49-F238E27FC236}">
                <a16:creationId xmlns:a16="http://schemas.microsoft.com/office/drawing/2014/main" id="{3B9CC0DE-3CFB-4CED-9228-43D4A2136C2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7" name="Espace réservé du texte 63">
            <a:extLst>
              <a:ext uri="{FF2B5EF4-FFF2-40B4-BE49-F238E27FC236}">
                <a16:creationId xmlns:a16="http://schemas.microsoft.com/office/drawing/2014/main" id="{120AD601-5F7B-40A3-807D-EC017958661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0ED317AC-81D5-4300-90D0-9F8DC152CCE1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9" name="TextBox 18">
            <a:extLst>
              <a:ext uri="{FF2B5EF4-FFF2-40B4-BE49-F238E27FC236}">
                <a16:creationId xmlns:a16="http://schemas.microsoft.com/office/drawing/2014/main" id="{3BDD53C6-A96D-4100-A36F-6B1D98980E5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0" name="TextBox 18">
            <a:extLst>
              <a:ext uri="{FF2B5EF4-FFF2-40B4-BE49-F238E27FC236}">
                <a16:creationId xmlns:a16="http://schemas.microsoft.com/office/drawing/2014/main" id="{1818AF84-9934-4A19-9227-C000B5C605F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67D9109-ED42-488A-9066-37C8CCEBA4CC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2" name="Espace réservé du texte 55">
            <a:extLst>
              <a:ext uri="{FF2B5EF4-FFF2-40B4-BE49-F238E27FC236}">
                <a16:creationId xmlns:a16="http://schemas.microsoft.com/office/drawing/2014/main" id="{2B43461A-5CE5-4BF4-A4D0-FC3E99D791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3" name="TextBox 18">
            <a:extLst>
              <a:ext uri="{FF2B5EF4-FFF2-40B4-BE49-F238E27FC236}">
                <a16:creationId xmlns:a16="http://schemas.microsoft.com/office/drawing/2014/main" id="{4816D103-04DE-49C6-92E5-F2BD724A3C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4" name="Espace réservé du texte 3">
            <a:extLst>
              <a:ext uri="{FF2B5EF4-FFF2-40B4-BE49-F238E27FC236}">
                <a16:creationId xmlns:a16="http://schemas.microsoft.com/office/drawing/2014/main" id="{F08EAC2E-038F-43B1-BB0C-D8879AC398D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5" name="Rounded Rectangle 4">
            <a:extLst>
              <a:ext uri="{FF2B5EF4-FFF2-40B4-BE49-F238E27FC236}">
                <a16:creationId xmlns:a16="http://schemas.microsoft.com/office/drawing/2014/main" id="{E2972E14-EAC5-47AF-A5C3-6BC0D489CBA2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6" name="Rounded Rectangle 4">
            <a:extLst>
              <a:ext uri="{FF2B5EF4-FFF2-40B4-BE49-F238E27FC236}">
                <a16:creationId xmlns:a16="http://schemas.microsoft.com/office/drawing/2014/main" id="{C495B389-2CF1-43EB-9898-98CE268EB99D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7" name="Espace réservé du texte 5">
            <a:extLst>
              <a:ext uri="{FF2B5EF4-FFF2-40B4-BE49-F238E27FC236}">
                <a16:creationId xmlns:a16="http://schemas.microsoft.com/office/drawing/2014/main" id="{01FDB637-7D40-43F8-B7A1-71C5CD87631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8" name="Espace réservé du texte 46">
            <a:extLst>
              <a:ext uri="{FF2B5EF4-FFF2-40B4-BE49-F238E27FC236}">
                <a16:creationId xmlns:a16="http://schemas.microsoft.com/office/drawing/2014/main" id="{9FBC2F1F-B31A-4929-A3EE-4F39974ADB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9" name="Espace réservé du texte 48">
            <a:extLst>
              <a:ext uri="{FF2B5EF4-FFF2-40B4-BE49-F238E27FC236}">
                <a16:creationId xmlns:a16="http://schemas.microsoft.com/office/drawing/2014/main" id="{5D10B1A0-2F2A-4A79-A5A9-C505A92E36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30" name="Rounded Rectangle 4">
            <a:extLst>
              <a:ext uri="{FF2B5EF4-FFF2-40B4-BE49-F238E27FC236}">
                <a16:creationId xmlns:a16="http://schemas.microsoft.com/office/drawing/2014/main" id="{5F357108-199F-4683-8993-16772808614A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1" name="Espace réservé du texte 5">
            <a:extLst>
              <a:ext uri="{FF2B5EF4-FFF2-40B4-BE49-F238E27FC236}">
                <a16:creationId xmlns:a16="http://schemas.microsoft.com/office/drawing/2014/main" id="{AFB9DBF5-3502-477D-9F73-E5AD3067D72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715CBD89-E069-4270-B180-0DF7A950A48D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3" name="Espace réservé du texte 15">
            <a:extLst>
              <a:ext uri="{FF2B5EF4-FFF2-40B4-BE49-F238E27FC236}">
                <a16:creationId xmlns:a16="http://schemas.microsoft.com/office/drawing/2014/main" id="{59BAEFDE-4FDD-4AB3-AFDE-E6835E2553A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E8687A6-2759-4F25-8E7D-44D18E892C51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5" name="TextBox 18">
            <a:extLst>
              <a:ext uri="{FF2B5EF4-FFF2-40B4-BE49-F238E27FC236}">
                <a16:creationId xmlns:a16="http://schemas.microsoft.com/office/drawing/2014/main" id="{7F437D1A-8DAE-4188-9F5B-46D4547047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6" name="Rounded Rectangle 4">
            <a:extLst>
              <a:ext uri="{FF2B5EF4-FFF2-40B4-BE49-F238E27FC236}">
                <a16:creationId xmlns:a16="http://schemas.microsoft.com/office/drawing/2014/main" id="{823008FA-CFA5-4B01-A2E2-16D38B3A8A22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37" name="Espace réservé du texte 4">
            <a:extLst>
              <a:ext uri="{FF2B5EF4-FFF2-40B4-BE49-F238E27FC236}">
                <a16:creationId xmlns:a16="http://schemas.microsoft.com/office/drawing/2014/main" id="{4F8F2176-AABD-4397-9BE7-E5E0AE3626D8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38" name="TextBox 18">
            <a:extLst>
              <a:ext uri="{FF2B5EF4-FFF2-40B4-BE49-F238E27FC236}">
                <a16:creationId xmlns:a16="http://schemas.microsoft.com/office/drawing/2014/main" id="{9FBB61CC-1C03-4449-ABFD-E9E3005049F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9" name="Rounded Rectangle 4">
            <a:extLst>
              <a:ext uri="{FF2B5EF4-FFF2-40B4-BE49-F238E27FC236}">
                <a16:creationId xmlns:a16="http://schemas.microsoft.com/office/drawing/2014/main" id="{3A912E62-B994-4BBA-AB1E-CF27C0F0D2CA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0" name="Espace réservé du texte 48">
            <a:extLst>
              <a:ext uri="{FF2B5EF4-FFF2-40B4-BE49-F238E27FC236}">
                <a16:creationId xmlns:a16="http://schemas.microsoft.com/office/drawing/2014/main" id="{76097B1E-51CF-4895-93DC-7D9265D2A44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ED5C82F3-B383-47F4-9BB2-5CE96A5E86E1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2" name="TextBox 18">
            <a:extLst>
              <a:ext uri="{FF2B5EF4-FFF2-40B4-BE49-F238E27FC236}">
                <a16:creationId xmlns:a16="http://schemas.microsoft.com/office/drawing/2014/main" id="{A7B4648E-9AE5-48EC-8B57-6DD9978F6A6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43" name="Espace réservé du texte 15">
            <a:extLst>
              <a:ext uri="{FF2B5EF4-FFF2-40B4-BE49-F238E27FC236}">
                <a16:creationId xmlns:a16="http://schemas.microsoft.com/office/drawing/2014/main" id="{84ABA231-F07D-48F6-9D92-BB5D836276BA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44" name="Espace réservé du texte 15">
            <a:extLst>
              <a:ext uri="{FF2B5EF4-FFF2-40B4-BE49-F238E27FC236}">
                <a16:creationId xmlns:a16="http://schemas.microsoft.com/office/drawing/2014/main" id="{515D7F2E-DED7-4E71-87B5-90FED76F2FA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45" name="TextBox 18">
            <a:extLst>
              <a:ext uri="{FF2B5EF4-FFF2-40B4-BE49-F238E27FC236}">
                <a16:creationId xmlns:a16="http://schemas.microsoft.com/office/drawing/2014/main" id="{C5FEAA4D-DA00-4EEA-BF3D-F56EB83CE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ounded Rectangle 4">
            <a:extLst>
              <a:ext uri="{FF2B5EF4-FFF2-40B4-BE49-F238E27FC236}">
                <a16:creationId xmlns:a16="http://schemas.microsoft.com/office/drawing/2014/main" id="{FA2D28C9-5BFC-4F10-BE79-F8612425BBA5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7" name="Espace réservé du texte 48">
            <a:extLst>
              <a:ext uri="{FF2B5EF4-FFF2-40B4-BE49-F238E27FC236}">
                <a16:creationId xmlns:a16="http://schemas.microsoft.com/office/drawing/2014/main" id="{83256BC1-40BA-474A-BDE3-EF98C4924AE3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148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E1D5E2C6-2B4B-4A00-BD88-73EE074FAA0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4B7DC04E-080C-4D05-AF8D-E21B4BA6B65E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95E42A28-80CA-4A06-8429-1E590AF51501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1DF60CC-8CE9-4CE0-9463-21CED52EA6AA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195AA3DB-2C54-4820-856D-2511BF9AB7E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3" name="TextBox 18">
            <a:extLst>
              <a:ext uri="{FF2B5EF4-FFF2-40B4-BE49-F238E27FC236}">
                <a16:creationId xmlns:a16="http://schemas.microsoft.com/office/drawing/2014/main" id="{AAFD3CB7-884C-4C45-A045-F533166215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4" name="TextBox 18">
            <a:extLst>
              <a:ext uri="{FF2B5EF4-FFF2-40B4-BE49-F238E27FC236}">
                <a16:creationId xmlns:a16="http://schemas.microsoft.com/office/drawing/2014/main" id="{78922B15-EF30-4682-B200-AC4537B5F09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155" name="Picture 6" descr="Icône calendrier, avec, une, horloge, temps, outils">
            <a:extLst>
              <a:ext uri="{FF2B5EF4-FFF2-40B4-BE49-F238E27FC236}">
                <a16:creationId xmlns:a16="http://schemas.microsoft.com/office/drawing/2014/main" id="{87E24F2D-F795-4C01-A137-40B1AAAF96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8" descr="Icône fusée, lancement">
            <a:extLst>
              <a:ext uri="{FF2B5EF4-FFF2-40B4-BE49-F238E27FC236}">
                <a16:creationId xmlns:a16="http://schemas.microsoft.com/office/drawing/2014/main" id="{4A8063D8-1A27-4C04-8009-0EE6ED9658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10" descr="Icône levier">
            <a:extLst>
              <a:ext uri="{FF2B5EF4-FFF2-40B4-BE49-F238E27FC236}">
                <a16:creationId xmlns:a16="http://schemas.microsoft.com/office/drawing/2014/main" id="{CC7F83FB-860D-464C-968F-FC203DA62B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8" name="Flèche : droite 157">
            <a:extLst>
              <a:ext uri="{FF2B5EF4-FFF2-40B4-BE49-F238E27FC236}">
                <a16:creationId xmlns:a16="http://schemas.microsoft.com/office/drawing/2014/main" id="{1146EDA7-FC5C-4161-AB6E-9A4E1FF01AFC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B1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9" name="Espace réservé du texte 3">
            <a:extLst>
              <a:ext uri="{FF2B5EF4-FFF2-40B4-BE49-F238E27FC236}">
                <a16:creationId xmlns:a16="http://schemas.microsoft.com/office/drawing/2014/main" id="{BE9398AE-DBC8-40BB-8D11-3743B5E2388F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160" name="Espace réservé du texte 3">
            <a:extLst>
              <a:ext uri="{FF2B5EF4-FFF2-40B4-BE49-F238E27FC236}">
                <a16:creationId xmlns:a16="http://schemas.microsoft.com/office/drawing/2014/main" id="{B1038945-AE1C-4E64-8A84-9C8FBF19600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161" name="Espace réservé du texte 3">
            <a:extLst>
              <a:ext uri="{FF2B5EF4-FFF2-40B4-BE49-F238E27FC236}">
                <a16:creationId xmlns:a16="http://schemas.microsoft.com/office/drawing/2014/main" id="{2D37D681-160C-4DC9-9170-647CC79B08DD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8EFA82D-E618-45E1-ABDD-396D116B67D1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3" name="TextBox 18">
            <a:extLst>
              <a:ext uri="{FF2B5EF4-FFF2-40B4-BE49-F238E27FC236}">
                <a16:creationId xmlns:a16="http://schemas.microsoft.com/office/drawing/2014/main" id="{52D701BF-2BB5-4B33-A101-A5B305EDE81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4" name="Espace réservé du texte 15">
            <a:extLst>
              <a:ext uri="{FF2B5EF4-FFF2-40B4-BE49-F238E27FC236}">
                <a16:creationId xmlns:a16="http://schemas.microsoft.com/office/drawing/2014/main" id="{60B63D60-D284-4EF1-B81A-EFEFAC3704DD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165" name="ZoneTexte 164">
            <a:extLst>
              <a:ext uri="{FF2B5EF4-FFF2-40B4-BE49-F238E27FC236}">
                <a16:creationId xmlns:a16="http://schemas.microsoft.com/office/drawing/2014/main" id="{A78437F3-D62A-4BAD-A456-25B84783F577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00B1AF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166" name="ZoneTexte 165">
            <a:extLst>
              <a:ext uri="{FF2B5EF4-FFF2-40B4-BE49-F238E27FC236}">
                <a16:creationId xmlns:a16="http://schemas.microsoft.com/office/drawing/2014/main" id="{83EE58D9-8AD9-44C8-A68D-5527844EE2F5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F6D52183-7D17-4E82-A53E-E106510D79E5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8" name="TextBox 18">
            <a:extLst>
              <a:ext uri="{FF2B5EF4-FFF2-40B4-BE49-F238E27FC236}">
                <a16:creationId xmlns:a16="http://schemas.microsoft.com/office/drawing/2014/main" id="{E95F60AC-2353-4174-9A03-9159A331698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5BC0E281-03DB-4288-91A0-FC5A892B185A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0" name="TextBox 18">
            <a:extLst>
              <a:ext uri="{FF2B5EF4-FFF2-40B4-BE49-F238E27FC236}">
                <a16:creationId xmlns:a16="http://schemas.microsoft.com/office/drawing/2014/main" id="{5FD694DA-6ED9-4166-B616-32A3C7DF29D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1" name="TextBox 18">
            <a:extLst>
              <a:ext uri="{FF2B5EF4-FFF2-40B4-BE49-F238E27FC236}">
                <a16:creationId xmlns:a16="http://schemas.microsoft.com/office/drawing/2014/main" id="{FB7871C5-5E81-424C-8B2C-7F509F7EE85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2" name="TextBox 18">
            <a:extLst>
              <a:ext uri="{FF2B5EF4-FFF2-40B4-BE49-F238E27FC236}">
                <a16:creationId xmlns:a16="http://schemas.microsoft.com/office/drawing/2014/main" id="{F3F746D4-BA1C-455E-8F3B-DEBA48829EA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3" name="TextBox 18">
            <a:extLst>
              <a:ext uri="{FF2B5EF4-FFF2-40B4-BE49-F238E27FC236}">
                <a16:creationId xmlns:a16="http://schemas.microsoft.com/office/drawing/2014/main" id="{10431EED-27CF-448C-94B7-65A59725AC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4" name="Espace réservé du texte 3">
            <a:extLst>
              <a:ext uri="{FF2B5EF4-FFF2-40B4-BE49-F238E27FC236}">
                <a16:creationId xmlns:a16="http://schemas.microsoft.com/office/drawing/2014/main" id="{E4B9E111-02D2-425E-ABC1-7966B0249F7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</p:spTree>
    <p:extLst>
      <p:ext uri="{BB962C8B-B14F-4D97-AF65-F5344CB8AC3E}">
        <p14:creationId xmlns:p14="http://schemas.microsoft.com/office/powerpoint/2010/main" val="3224104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00B1AF"/>
                </a:solidFill>
              </a:defRPr>
            </a:lvl1pPr>
          </a:lstStyle>
          <a:p>
            <a:r>
              <a:rPr lang="fr-FR" noProof="0"/>
              <a:t>Sécurité injection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63BFABDA-9ACB-46FE-9CA0-FF6752586A51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B1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00B1A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00B1AF"/>
                </a:solidFill>
                <a:latin typeface="+mn-lt"/>
                <a:ea typeface="+mn-ea"/>
                <a:cs typeface="+mn-cs"/>
              </a:rPr>
              <a:t>Augmenter la sécurité des sites d’injection</a:t>
            </a:r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F6CCCD99-A8DD-4F38-A129-BCFD053CBA0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89" name="ZoneTexte 88">
            <a:extLst>
              <a:ext uri="{FF2B5EF4-FFF2-40B4-BE49-F238E27FC236}">
                <a16:creationId xmlns:a16="http://schemas.microsoft.com/office/drawing/2014/main" id="{AE5B5312-6037-45EE-83E6-36456FFEEC20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</p:spTree>
    <p:extLst>
      <p:ext uri="{BB962C8B-B14F-4D97-AF65-F5344CB8AC3E}">
        <p14:creationId xmlns:p14="http://schemas.microsoft.com/office/powerpoint/2010/main" val="380095865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34116483-CB34-4E00-BBB3-1A875B21CC0B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1A20FBAE-899F-4C19-83CB-296FDB2318B2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AAF87BE8-E18A-4D03-8E82-93D32D4E1D63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54C08B35-EF79-4FFE-ABFD-43FA8D6D56D1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D1633DD8-D846-4C5B-8A41-B1670204126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TextBox 18">
            <a:extLst>
              <a:ext uri="{FF2B5EF4-FFF2-40B4-BE49-F238E27FC236}">
                <a16:creationId xmlns:a16="http://schemas.microsoft.com/office/drawing/2014/main" id="{9B29E9FD-318F-4DBC-BACA-6E755E4DE71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6" name="Espace réservé du texte 53">
            <a:extLst>
              <a:ext uri="{FF2B5EF4-FFF2-40B4-BE49-F238E27FC236}">
                <a16:creationId xmlns:a16="http://schemas.microsoft.com/office/drawing/2014/main" id="{AE595A3D-288D-4E68-AB87-E2D0A7B05C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7" name="Espace réservé du texte 63">
            <a:extLst>
              <a:ext uri="{FF2B5EF4-FFF2-40B4-BE49-F238E27FC236}">
                <a16:creationId xmlns:a16="http://schemas.microsoft.com/office/drawing/2014/main" id="{4DEFE7BA-1EBA-461D-9B6E-DF909B7F1F6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BBC6DAC0-B966-4370-A9A1-8B143D60BE76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9" name="TextBox 18">
            <a:extLst>
              <a:ext uri="{FF2B5EF4-FFF2-40B4-BE49-F238E27FC236}">
                <a16:creationId xmlns:a16="http://schemas.microsoft.com/office/drawing/2014/main" id="{CF321708-6049-4C66-81F8-4FF42F0702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0" name="TextBox 18">
            <a:extLst>
              <a:ext uri="{FF2B5EF4-FFF2-40B4-BE49-F238E27FC236}">
                <a16:creationId xmlns:a16="http://schemas.microsoft.com/office/drawing/2014/main" id="{C81CA6CD-ECC4-4233-A258-709D7EBA2DD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AE6F10FB-A735-430A-850D-5F664C5049C0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2" name="Espace réservé du texte 55">
            <a:extLst>
              <a:ext uri="{FF2B5EF4-FFF2-40B4-BE49-F238E27FC236}">
                <a16:creationId xmlns:a16="http://schemas.microsoft.com/office/drawing/2014/main" id="{3B2882B1-7158-4389-9E40-A81432E62A2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3" name="TextBox 18">
            <a:extLst>
              <a:ext uri="{FF2B5EF4-FFF2-40B4-BE49-F238E27FC236}">
                <a16:creationId xmlns:a16="http://schemas.microsoft.com/office/drawing/2014/main" id="{DAA618E5-2F03-49EE-BB5E-BEDE1161177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5" name="Rounded Rectangle 4">
            <a:extLst>
              <a:ext uri="{FF2B5EF4-FFF2-40B4-BE49-F238E27FC236}">
                <a16:creationId xmlns:a16="http://schemas.microsoft.com/office/drawing/2014/main" id="{9E6EE61F-AC6F-421B-A801-AA27005E8CC3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6" name="Rounded Rectangle 4">
            <a:extLst>
              <a:ext uri="{FF2B5EF4-FFF2-40B4-BE49-F238E27FC236}">
                <a16:creationId xmlns:a16="http://schemas.microsoft.com/office/drawing/2014/main" id="{170CEB9E-DF34-47FB-B4B9-9CBCCDD2E93F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7" name="Espace réservé du texte 5">
            <a:extLst>
              <a:ext uri="{FF2B5EF4-FFF2-40B4-BE49-F238E27FC236}">
                <a16:creationId xmlns:a16="http://schemas.microsoft.com/office/drawing/2014/main" id="{0575F966-845E-4E81-9987-FA823EC67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8" name="Espace réservé du texte 46">
            <a:extLst>
              <a:ext uri="{FF2B5EF4-FFF2-40B4-BE49-F238E27FC236}">
                <a16:creationId xmlns:a16="http://schemas.microsoft.com/office/drawing/2014/main" id="{4FE3BE52-A3CA-49E2-925B-EB67C2577AF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9" name="Espace réservé du texte 48">
            <a:extLst>
              <a:ext uri="{FF2B5EF4-FFF2-40B4-BE49-F238E27FC236}">
                <a16:creationId xmlns:a16="http://schemas.microsoft.com/office/drawing/2014/main" id="{ADDFEDAF-C442-4CB3-B77E-2A4293BEDBF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30" name="Rounded Rectangle 4">
            <a:extLst>
              <a:ext uri="{FF2B5EF4-FFF2-40B4-BE49-F238E27FC236}">
                <a16:creationId xmlns:a16="http://schemas.microsoft.com/office/drawing/2014/main" id="{8716BF9B-EF17-4CD5-B152-C87B3C743CE8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1" name="Espace réservé du texte 5">
            <a:extLst>
              <a:ext uri="{FF2B5EF4-FFF2-40B4-BE49-F238E27FC236}">
                <a16:creationId xmlns:a16="http://schemas.microsoft.com/office/drawing/2014/main" id="{164D206B-605B-4872-BDD2-9D0454422EB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9CE915A7-1418-4C68-A3E5-AD2B1BEF68B7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3" name="Espace réservé du texte 15">
            <a:extLst>
              <a:ext uri="{FF2B5EF4-FFF2-40B4-BE49-F238E27FC236}">
                <a16:creationId xmlns:a16="http://schemas.microsoft.com/office/drawing/2014/main" id="{EA51A6F3-4B38-43D4-8603-2E65994F4253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67885ADC-6EE6-45C8-BC89-B8AD398E40B4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5" name="TextBox 18">
            <a:extLst>
              <a:ext uri="{FF2B5EF4-FFF2-40B4-BE49-F238E27FC236}">
                <a16:creationId xmlns:a16="http://schemas.microsoft.com/office/drawing/2014/main" id="{3B8A4C38-24F2-4E50-A26F-CC459E9083F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6" name="Rounded Rectangle 4">
            <a:extLst>
              <a:ext uri="{FF2B5EF4-FFF2-40B4-BE49-F238E27FC236}">
                <a16:creationId xmlns:a16="http://schemas.microsoft.com/office/drawing/2014/main" id="{354FBFC9-C949-42DD-8473-51D9B060DE3B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37" name="Espace réservé du texte 4">
            <a:extLst>
              <a:ext uri="{FF2B5EF4-FFF2-40B4-BE49-F238E27FC236}">
                <a16:creationId xmlns:a16="http://schemas.microsoft.com/office/drawing/2014/main" id="{28A4147E-605E-4EF5-8C0F-3884CBA9637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38" name="TextBox 18">
            <a:extLst>
              <a:ext uri="{FF2B5EF4-FFF2-40B4-BE49-F238E27FC236}">
                <a16:creationId xmlns:a16="http://schemas.microsoft.com/office/drawing/2014/main" id="{A69C6B97-E24A-4A45-830F-BE53261E44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9" name="Rounded Rectangle 4">
            <a:extLst>
              <a:ext uri="{FF2B5EF4-FFF2-40B4-BE49-F238E27FC236}">
                <a16:creationId xmlns:a16="http://schemas.microsoft.com/office/drawing/2014/main" id="{0A9E1819-58F3-47D3-A394-912FCE9A9AEC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0" name="Espace réservé du texte 48">
            <a:extLst>
              <a:ext uri="{FF2B5EF4-FFF2-40B4-BE49-F238E27FC236}">
                <a16:creationId xmlns:a16="http://schemas.microsoft.com/office/drawing/2014/main" id="{B401020D-E7E1-4A42-B4CB-0B5B0567DD60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F56F423A-92C1-43D4-ABF1-31070C9EBC87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2" name="TextBox 18">
            <a:extLst>
              <a:ext uri="{FF2B5EF4-FFF2-40B4-BE49-F238E27FC236}">
                <a16:creationId xmlns:a16="http://schemas.microsoft.com/office/drawing/2014/main" id="{8BEBA99D-EA41-437C-902B-C5FEFD2A90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43" name="Espace réservé du texte 15">
            <a:extLst>
              <a:ext uri="{FF2B5EF4-FFF2-40B4-BE49-F238E27FC236}">
                <a16:creationId xmlns:a16="http://schemas.microsoft.com/office/drawing/2014/main" id="{1D4AF513-242B-455D-97CD-89A807953DD6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44" name="Espace réservé du texte 15">
            <a:extLst>
              <a:ext uri="{FF2B5EF4-FFF2-40B4-BE49-F238E27FC236}">
                <a16:creationId xmlns:a16="http://schemas.microsoft.com/office/drawing/2014/main" id="{82C029AB-5DA3-489D-8AEF-8BE72853133F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45" name="TextBox 18">
            <a:extLst>
              <a:ext uri="{FF2B5EF4-FFF2-40B4-BE49-F238E27FC236}">
                <a16:creationId xmlns:a16="http://schemas.microsoft.com/office/drawing/2014/main" id="{15AD6269-FFDC-4924-971A-6B62AC2949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ounded Rectangle 4">
            <a:extLst>
              <a:ext uri="{FF2B5EF4-FFF2-40B4-BE49-F238E27FC236}">
                <a16:creationId xmlns:a16="http://schemas.microsoft.com/office/drawing/2014/main" id="{8DA42EF2-C92B-487E-976F-06B6839E3919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7" name="Espace réservé du texte 48">
            <a:extLst>
              <a:ext uri="{FF2B5EF4-FFF2-40B4-BE49-F238E27FC236}">
                <a16:creationId xmlns:a16="http://schemas.microsoft.com/office/drawing/2014/main" id="{88C8579C-931F-49FB-9AE8-B75AFC4560C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148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C6F08C15-0F1C-4BB9-8E9D-CA34CCC58BE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22E8D725-A225-4085-82F4-D864C28100BF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CEE44D88-6E36-43B1-8B07-8D9A5068F7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58D6A316-870C-4C59-849F-5397FA64970F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D22CEA19-EA08-4859-88AA-1F9090ACB2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3" name="TextBox 18">
            <a:extLst>
              <a:ext uri="{FF2B5EF4-FFF2-40B4-BE49-F238E27FC236}">
                <a16:creationId xmlns:a16="http://schemas.microsoft.com/office/drawing/2014/main" id="{22D5FEE2-FE83-49B0-B5DB-591D0FD158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4" name="TextBox 18">
            <a:extLst>
              <a:ext uri="{FF2B5EF4-FFF2-40B4-BE49-F238E27FC236}">
                <a16:creationId xmlns:a16="http://schemas.microsoft.com/office/drawing/2014/main" id="{74D64CE3-C175-4E2F-BAED-5B4C9160DB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155" name="Picture 6" descr="Icône calendrier, avec, une, horloge, temps, outils">
            <a:extLst>
              <a:ext uri="{FF2B5EF4-FFF2-40B4-BE49-F238E27FC236}">
                <a16:creationId xmlns:a16="http://schemas.microsoft.com/office/drawing/2014/main" id="{91DDD284-6F54-4799-97A0-B6F2F40CE9E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8" descr="Icône fusée, lancement">
            <a:extLst>
              <a:ext uri="{FF2B5EF4-FFF2-40B4-BE49-F238E27FC236}">
                <a16:creationId xmlns:a16="http://schemas.microsoft.com/office/drawing/2014/main" id="{CF14D912-8C2B-40F2-9DEA-F201D565D3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10" descr="Icône levier">
            <a:extLst>
              <a:ext uri="{FF2B5EF4-FFF2-40B4-BE49-F238E27FC236}">
                <a16:creationId xmlns:a16="http://schemas.microsoft.com/office/drawing/2014/main" id="{A0E90B55-F7B0-476B-B51B-3A8415F851F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8" name="Flèche : droite 157">
            <a:extLst>
              <a:ext uri="{FF2B5EF4-FFF2-40B4-BE49-F238E27FC236}">
                <a16:creationId xmlns:a16="http://schemas.microsoft.com/office/drawing/2014/main" id="{F9061CC5-F5E6-4AD7-8284-EB914A79EDE4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71B8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9" name="Espace réservé du texte 3">
            <a:extLst>
              <a:ext uri="{FF2B5EF4-FFF2-40B4-BE49-F238E27FC236}">
                <a16:creationId xmlns:a16="http://schemas.microsoft.com/office/drawing/2014/main" id="{0D5F1523-BD08-4F91-825E-21AE65EFC3A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160" name="Espace réservé du texte 3">
            <a:extLst>
              <a:ext uri="{FF2B5EF4-FFF2-40B4-BE49-F238E27FC236}">
                <a16:creationId xmlns:a16="http://schemas.microsoft.com/office/drawing/2014/main" id="{9F2C75F3-927C-428A-9F95-0313CEFE42D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161" name="Espace réservé du texte 3">
            <a:extLst>
              <a:ext uri="{FF2B5EF4-FFF2-40B4-BE49-F238E27FC236}">
                <a16:creationId xmlns:a16="http://schemas.microsoft.com/office/drawing/2014/main" id="{183061FB-E6A2-4D7D-A13D-341E90339D0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21907C6A-27CB-46D7-A851-8F589C6968AE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3" name="TextBox 18">
            <a:extLst>
              <a:ext uri="{FF2B5EF4-FFF2-40B4-BE49-F238E27FC236}">
                <a16:creationId xmlns:a16="http://schemas.microsoft.com/office/drawing/2014/main" id="{8352F505-467D-4428-98AE-BD49F355FE3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4" name="Espace réservé du texte 15">
            <a:extLst>
              <a:ext uri="{FF2B5EF4-FFF2-40B4-BE49-F238E27FC236}">
                <a16:creationId xmlns:a16="http://schemas.microsoft.com/office/drawing/2014/main" id="{99080A66-2EA4-4008-BE6E-31FC53D6F99B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165" name="ZoneTexte 164">
            <a:extLst>
              <a:ext uri="{FF2B5EF4-FFF2-40B4-BE49-F238E27FC236}">
                <a16:creationId xmlns:a16="http://schemas.microsoft.com/office/drawing/2014/main" id="{6AA644BE-87D7-4740-8E59-81396656C2F1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71B857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166" name="ZoneTexte 165">
            <a:extLst>
              <a:ext uri="{FF2B5EF4-FFF2-40B4-BE49-F238E27FC236}">
                <a16:creationId xmlns:a16="http://schemas.microsoft.com/office/drawing/2014/main" id="{FE920324-4AEA-42C9-9440-161780149702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E9FE639B-6B0C-49C0-9DF0-C0A9AD3AA202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8" name="TextBox 18">
            <a:extLst>
              <a:ext uri="{FF2B5EF4-FFF2-40B4-BE49-F238E27FC236}">
                <a16:creationId xmlns:a16="http://schemas.microsoft.com/office/drawing/2014/main" id="{BA9923E1-D264-4806-896A-E6297942203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F39A008D-4137-473F-8ADA-9572A1B42AE0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0" name="TextBox 18">
            <a:extLst>
              <a:ext uri="{FF2B5EF4-FFF2-40B4-BE49-F238E27FC236}">
                <a16:creationId xmlns:a16="http://schemas.microsoft.com/office/drawing/2014/main" id="{B40A7AAF-5A8C-44C9-8357-8B512FE4CC3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1" name="TextBox 18">
            <a:extLst>
              <a:ext uri="{FF2B5EF4-FFF2-40B4-BE49-F238E27FC236}">
                <a16:creationId xmlns:a16="http://schemas.microsoft.com/office/drawing/2014/main" id="{5A8C4655-FE72-4C3C-9F00-F7722345AE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2" name="TextBox 18">
            <a:extLst>
              <a:ext uri="{FF2B5EF4-FFF2-40B4-BE49-F238E27FC236}">
                <a16:creationId xmlns:a16="http://schemas.microsoft.com/office/drawing/2014/main" id="{03EBA27B-7A3F-4E31-8CC8-F615EB01C60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3" name="TextBox 18">
            <a:extLst>
              <a:ext uri="{FF2B5EF4-FFF2-40B4-BE49-F238E27FC236}">
                <a16:creationId xmlns:a16="http://schemas.microsoft.com/office/drawing/2014/main" id="{0E5F77AA-47ED-4621-A878-A4221AF8C5E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4" name="Espace réservé du texte 3">
            <a:extLst>
              <a:ext uri="{FF2B5EF4-FFF2-40B4-BE49-F238E27FC236}">
                <a16:creationId xmlns:a16="http://schemas.microsoft.com/office/drawing/2014/main" id="{08CA272D-C57A-45E4-AAFA-9484077DEC3E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5C10D71-0932-45C7-93FA-77A15863FB5F}"/>
              </a:ext>
            </a:extLst>
          </p:cNvPr>
          <p:cNvSpPr/>
          <p:nvPr userDrawn="1"/>
        </p:nvSpPr>
        <p:spPr>
          <a:xfrm>
            <a:off x="3967839" y="1696356"/>
            <a:ext cx="3237902" cy="194405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718D5008-9BBB-452D-BA91-E7DE9C655E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7F2503DB-DE10-4B97-B9F6-5E1157EF8B75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9" name="TextBox 18">
            <a:extLst>
              <a:ext uri="{FF2B5EF4-FFF2-40B4-BE49-F238E27FC236}">
                <a16:creationId xmlns:a16="http://schemas.microsoft.com/office/drawing/2014/main" id="{AC4C1DC6-9874-47BC-A037-50192E610B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64CF4B3A-7BEC-4E13-A41B-12F8C803118A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168885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993AC310-D7F9-401E-AAC8-831D77F4F432}"/>
              </a:ext>
            </a:extLst>
          </p:cNvPr>
          <p:cNvSpPr/>
          <p:nvPr userDrawn="1"/>
        </p:nvSpPr>
        <p:spPr>
          <a:xfrm>
            <a:off x="3967839" y="3805780"/>
            <a:ext cx="3236847" cy="4961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2" name="TextBox 18">
            <a:extLst>
              <a:ext uri="{FF2B5EF4-FFF2-40B4-BE49-F238E27FC236}">
                <a16:creationId xmlns:a16="http://schemas.microsoft.com/office/drawing/2014/main" id="{39DA12D8-F74C-4C67-8D66-04270DDA252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3721412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84" name="Espace réservé du texte 3">
            <a:extLst>
              <a:ext uri="{FF2B5EF4-FFF2-40B4-BE49-F238E27FC236}">
                <a16:creationId xmlns:a16="http://schemas.microsoft.com/office/drawing/2014/main" id="{6F596084-87C4-4430-845B-C50CE769A23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96378" y="3924361"/>
            <a:ext cx="3007642" cy="31363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pic>
        <p:nvPicPr>
          <p:cNvPr id="85" name="Image 84">
            <a:extLst>
              <a:ext uri="{FF2B5EF4-FFF2-40B4-BE49-F238E27FC236}">
                <a16:creationId xmlns:a16="http://schemas.microsoft.com/office/drawing/2014/main" id="{6668429D-6201-4C85-ACFB-CC163D0DE75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86" name="Espace réservé du titre 1">
            <a:extLst>
              <a:ext uri="{FF2B5EF4-FFF2-40B4-BE49-F238E27FC236}">
                <a16:creationId xmlns:a16="http://schemas.microsoft.com/office/drawing/2014/main" id="{5760C471-8C3D-45DF-B645-FACBD26234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71B857"/>
                </a:solidFill>
              </a:defRPr>
            </a:lvl1pPr>
          </a:lstStyle>
          <a:p>
            <a:r>
              <a:rPr lang="fr-FR" noProof="0"/>
              <a:t>Bénéfices environnementaux</a:t>
            </a:r>
          </a:p>
        </p:txBody>
      </p:sp>
    </p:spTree>
    <p:extLst>
      <p:ext uri="{BB962C8B-B14F-4D97-AF65-F5344CB8AC3E}">
        <p14:creationId xmlns:p14="http://schemas.microsoft.com/office/powerpoint/2010/main" val="24572202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71B857"/>
                </a:solidFill>
              </a:defRPr>
            </a:lvl1pPr>
          </a:lstStyle>
          <a:p>
            <a:r>
              <a:rPr lang="fr-FR" noProof="0"/>
              <a:t>Bénéfices environnementaux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819B693F-A147-466D-BCBD-FF24BD965640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E6C51E3C-7B06-4C9A-8172-197E12A5E5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95" name="Rectangle 94">
            <a:extLst>
              <a:ext uri="{FF2B5EF4-FFF2-40B4-BE49-F238E27FC236}">
                <a16:creationId xmlns:a16="http://schemas.microsoft.com/office/drawing/2014/main" id="{77896D4C-8293-4A57-8E0E-06192EF943AE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E18838CE-FFC9-4EDF-A0EF-874E7A0FD033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723203A-FD89-4EE4-8E68-3FBB8CFFB76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TextBox 18">
            <a:extLst>
              <a:ext uri="{FF2B5EF4-FFF2-40B4-BE49-F238E27FC236}">
                <a16:creationId xmlns:a16="http://schemas.microsoft.com/office/drawing/2014/main" id="{91D8D399-C923-4AEA-95FC-C0CA6BCAEC4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TextBox 18">
            <a:extLst>
              <a:ext uri="{FF2B5EF4-FFF2-40B4-BE49-F238E27FC236}">
                <a16:creationId xmlns:a16="http://schemas.microsoft.com/office/drawing/2014/main" id="{5C40679B-5FA5-423F-BC9C-3BB68109A6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Espace réservé du texte 53">
            <a:extLst>
              <a:ext uri="{FF2B5EF4-FFF2-40B4-BE49-F238E27FC236}">
                <a16:creationId xmlns:a16="http://schemas.microsoft.com/office/drawing/2014/main" id="{73D9AAC1-5652-41D8-979C-310FEF85AE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6" name="Espace réservé du texte 63">
            <a:extLst>
              <a:ext uri="{FF2B5EF4-FFF2-40B4-BE49-F238E27FC236}">
                <a16:creationId xmlns:a16="http://schemas.microsoft.com/office/drawing/2014/main" id="{EC2FCC90-0BC1-42DC-BC3A-CA06DA3CE0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44135311-4479-42CE-A605-67E925C4E1C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8" name="TextBox 18">
            <a:extLst>
              <a:ext uri="{FF2B5EF4-FFF2-40B4-BE49-F238E27FC236}">
                <a16:creationId xmlns:a16="http://schemas.microsoft.com/office/drawing/2014/main" id="{53499A76-1C90-4985-8AA7-42B047C164A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9" name="TextBox 18">
            <a:extLst>
              <a:ext uri="{FF2B5EF4-FFF2-40B4-BE49-F238E27FC236}">
                <a16:creationId xmlns:a16="http://schemas.microsoft.com/office/drawing/2014/main" id="{DDB101EB-BDD0-42EE-ACB1-96C3C497D2B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AF81082-61C2-42D3-8212-5EA316740D58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1" name="Espace réservé du texte 55">
            <a:extLst>
              <a:ext uri="{FF2B5EF4-FFF2-40B4-BE49-F238E27FC236}">
                <a16:creationId xmlns:a16="http://schemas.microsoft.com/office/drawing/2014/main" id="{C2F47783-9FCE-420B-9B0B-8FDFB05684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2" name="TextBox 18">
            <a:extLst>
              <a:ext uri="{FF2B5EF4-FFF2-40B4-BE49-F238E27FC236}">
                <a16:creationId xmlns:a16="http://schemas.microsoft.com/office/drawing/2014/main" id="{5454639F-83E7-45CD-8DF1-49CAF2CA38F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4" name="Rounded Rectangle 4">
            <a:extLst>
              <a:ext uri="{FF2B5EF4-FFF2-40B4-BE49-F238E27FC236}">
                <a16:creationId xmlns:a16="http://schemas.microsoft.com/office/drawing/2014/main" id="{F4A874EF-A23D-4CA9-B2EC-9E3081B39031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5" name="Rounded Rectangle 4">
            <a:extLst>
              <a:ext uri="{FF2B5EF4-FFF2-40B4-BE49-F238E27FC236}">
                <a16:creationId xmlns:a16="http://schemas.microsoft.com/office/drawing/2014/main" id="{7537DA64-2591-46E2-A943-1F4D9BA1E4B6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6" name="Espace réservé du texte 5">
            <a:extLst>
              <a:ext uri="{FF2B5EF4-FFF2-40B4-BE49-F238E27FC236}">
                <a16:creationId xmlns:a16="http://schemas.microsoft.com/office/drawing/2014/main" id="{C00CA4E9-AFD9-41F2-827F-41695F10269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7" name="Espace réservé du texte 46">
            <a:extLst>
              <a:ext uri="{FF2B5EF4-FFF2-40B4-BE49-F238E27FC236}">
                <a16:creationId xmlns:a16="http://schemas.microsoft.com/office/drawing/2014/main" id="{333D18E1-7701-4E57-B855-F60BA5F221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8" name="Espace réservé du texte 48">
            <a:extLst>
              <a:ext uri="{FF2B5EF4-FFF2-40B4-BE49-F238E27FC236}">
                <a16:creationId xmlns:a16="http://schemas.microsoft.com/office/drawing/2014/main" id="{67834326-7CEA-4CC5-A96F-5E191FD3B1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29" name="Rounded Rectangle 4">
            <a:extLst>
              <a:ext uri="{FF2B5EF4-FFF2-40B4-BE49-F238E27FC236}">
                <a16:creationId xmlns:a16="http://schemas.microsoft.com/office/drawing/2014/main" id="{FDA43943-133B-48CE-A68B-8634DE6DF8EF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0" name="Espace réservé du texte 5">
            <a:extLst>
              <a:ext uri="{FF2B5EF4-FFF2-40B4-BE49-F238E27FC236}">
                <a16:creationId xmlns:a16="http://schemas.microsoft.com/office/drawing/2014/main" id="{783EED26-7B25-4886-A02B-13BCDEF02EB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0661C69-6683-45FF-8DD0-62C9D514BFBF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2" name="Espace réservé du texte 15">
            <a:extLst>
              <a:ext uri="{FF2B5EF4-FFF2-40B4-BE49-F238E27FC236}">
                <a16:creationId xmlns:a16="http://schemas.microsoft.com/office/drawing/2014/main" id="{53530268-F98C-4EB6-819C-0A3E272F70D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A9766084-FA77-44A4-952F-7AE0AFC46DEF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4" name="TextBox 18">
            <a:extLst>
              <a:ext uri="{FF2B5EF4-FFF2-40B4-BE49-F238E27FC236}">
                <a16:creationId xmlns:a16="http://schemas.microsoft.com/office/drawing/2014/main" id="{6C21B368-3BAB-48AA-93E5-FC134E2A665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5" name="Rounded Rectangle 4">
            <a:extLst>
              <a:ext uri="{FF2B5EF4-FFF2-40B4-BE49-F238E27FC236}">
                <a16:creationId xmlns:a16="http://schemas.microsoft.com/office/drawing/2014/main" id="{E3FEEE2B-1B38-41AE-BCEF-0814071314A6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36" name="Espace réservé du texte 4">
            <a:extLst>
              <a:ext uri="{FF2B5EF4-FFF2-40B4-BE49-F238E27FC236}">
                <a16:creationId xmlns:a16="http://schemas.microsoft.com/office/drawing/2014/main" id="{3386C7C8-038B-45F0-BEEE-7499814DAD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37" name="TextBox 18">
            <a:extLst>
              <a:ext uri="{FF2B5EF4-FFF2-40B4-BE49-F238E27FC236}">
                <a16:creationId xmlns:a16="http://schemas.microsoft.com/office/drawing/2014/main" id="{2BAFBBD7-5DD0-4C6C-896B-7014D1A38F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8" name="Rounded Rectangle 4">
            <a:extLst>
              <a:ext uri="{FF2B5EF4-FFF2-40B4-BE49-F238E27FC236}">
                <a16:creationId xmlns:a16="http://schemas.microsoft.com/office/drawing/2014/main" id="{00267F9B-558E-4350-B0D5-1468A6B84B10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9" name="Espace réservé du texte 48">
            <a:extLst>
              <a:ext uri="{FF2B5EF4-FFF2-40B4-BE49-F238E27FC236}">
                <a16:creationId xmlns:a16="http://schemas.microsoft.com/office/drawing/2014/main" id="{EFA48D53-0954-457B-98DF-B330EAA0CBE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2163815-75A7-44C7-B7FA-0C62055809C4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1" name="TextBox 18">
            <a:extLst>
              <a:ext uri="{FF2B5EF4-FFF2-40B4-BE49-F238E27FC236}">
                <a16:creationId xmlns:a16="http://schemas.microsoft.com/office/drawing/2014/main" id="{4E233C31-2466-4AD3-95F3-BDD183B678E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42" name="Espace réservé du texte 15">
            <a:extLst>
              <a:ext uri="{FF2B5EF4-FFF2-40B4-BE49-F238E27FC236}">
                <a16:creationId xmlns:a16="http://schemas.microsoft.com/office/drawing/2014/main" id="{9D20614D-E5D8-4F01-8D58-81FD1CB9250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43" name="Espace réservé du texte 15">
            <a:extLst>
              <a:ext uri="{FF2B5EF4-FFF2-40B4-BE49-F238E27FC236}">
                <a16:creationId xmlns:a16="http://schemas.microsoft.com/office/drawing/2014/main" id="{5AED1429-C6D0-41EC-95A1-EF458DEE2B1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44" name="TextBox 18">
            <a:extLst>
              <a:ext uri="{FF2B5EF4-FFF2-40B4-BE49-F238E27FC236}">
                <a16:creationId xmlns:a16="http://schemas.microsoft.com/office/drawing/2014/main" id="{16717B8C-4A85-4739-B086-8E1BF16FA96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ounded Rectangle 4">
            <a:extLst>
              <a:ext uri="{FF2B5EF4-FFF2-40B4-BE49-F238E27FC236}">
                <a16:creationId xmlns:a16="http://schemas.microsoft.com/office/drawing/2014/main" id="{870CCD3E-A93F-4F5B-BA18-07BB8935C2B9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6" name="Espace réservé du texte 48">
            <a:extLst>
              <a:ext uri="{FF2B5EF4-FFF2-40B4-BE49-F238E27FC236}">
                <a16:creationId xmlns:a16="http://schemas.microsoft.com/office/drawing/2014/main" id="{87724AB7-76CD-4FB8-B0C1-F0885D161D8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147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ADADE4D6-3E2A-4DAB-9C03-A8E6288ECE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Rectangle 147">
            <a:extLst>
              <a:ext uri="{FF2B5EF4-FFF2-40B4-BE49-F238E27FC236}">
                <a16:creationId xmlns:a16="http://schemas.microsoft.com/office/drawing/2014/main" id="{3DEF261F-C4C6-4984-AA64-26F4CE7BD38D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4495F1C-D6E2-473B-ABD4-DE64FBBD9415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910D5ABA-32D6-4D8F-886A-4505829BA0CA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1" name="TextBox 18">
            <a:extLst>
              <a:ext uri="{FF2B5EF4-FFF2-40B4-BE49-F238E27FC236}">
                <a16:creationId xmlns:a16="http://schemas.microsoft.com/office/drawing/2014/main" id="{DAA2E24E-FA3C-47EC-9C7F-136459C4E9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067BC4E4-C1A3-4040-8007-4593036D12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3" name="TextBox 18">
            <a:extLst>
              <a:ext uri="{FF2B5EF4-FFF2-40B4-BE49-F238E27FC236}">
                <a16:creationId xmlns:a16="http://schemas.microsoft.com/office/drawing/2014/main" id="{3F83C335-FF6F-4227-A133-2FE30AE5B1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154" name="Picture 6" descr="Icône calendrier, avec, une, horloge, temps, outils">
            <a:extLst>
              <a:ext uri="{FF2B5EF4-FFF2-40B4-BE49-F238E27FC236}">
                <a16:creationId xmlns:a16="http://schemas.microsoft.com/office/drawing/2014/main" id="{F48095B5-9DB3-4E39-AF60-D7A6137FFB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8" descr="Icône fusée, lancement">
            <a:extLst>
              <a:ext uri="{FF2B5EF4-FFF2-40B4-BE49-F238E27FC236}">
                <a16:creationId xmlns:a16="http://schemas.microsoft.com/office/drawing/2014/main" id="{3AB8FF12-A699-4337-92D4-83B78D5E12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10" descr="Icône levier">
            <a:extLst>
              <a:ext uri="{FF2B5EF4-FFF2-40B4-BE49-F238E27FC236}">
                <a16:creationId xmlns:a16="http://schemas.microsoft.com/office/drawing/2014/main" id="{A870BDCA-D5F1-43EC-B672-A05D8DD08D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Flèche : droite 156">
            <a:extLst>
              <a:ext uri="{FF2B5EF4-FFF2-40B4-BE49-F238E27FC236}">
                <a16:creationId xmlns:a16="http://schemas.microsoft.com/office/drawing/2014/main" id="{2C0D4B53-E04C-41D3-8FEB-E07A0BF8022F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71B8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8" name="Espace réservé du texte 3">
            <a:extLst>
              <a:ext uri="{FF2B5EF4-FFF2-40B4-BE49-F238E27FC236}">
                <a16:creationId xmlns:a16="http://schemas.microsoft.com/office/drawing/2014/main" id="{224A9F89-1628-47DC-997F-5B1C33A1032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159" name="Espace réservé du texte 3">
            <a:extLst>
              <a:ext uri="{FF2B5EF4-FFF2-40B4-BE49-F238E27FC236}">
                <a16:creationId xmlns:a16="http://schemas.microsoft.com/office/drawing/2014/main" id="{04CA885E-142D-4626-AD41-1A26A68FCB3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160" name="Espace réservé du texte 3">
            <a:extLst>
              <a:ext uri="{FF2B5EF4-FFF2-40B4-BE49-F238E27FC236}">
                <a16:creationId xmlns:a16="http://schemas.microsoft.com/office/drawing/2014/main" id="{9F69D744-E50D-4EF2-9DD1-3CF1974B38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74E40159-5C43-4E59-B728-B6783F1C3BF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2" name="TextBox 18">
            <a:extLst>
              <a:ext uri="{FF2B5EF4-FFF2-40B4-BE49-F238E27FC236}">
                <a16:creationId xmlns:a16="http://schemas.microsoft.com/office/drawing/2014/main" id="{03D63C83-6B95-4F71-A1FB-D9FB6044AE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3" name="Espace réservé du texte 15">
            <a:extLst>
              <a:ext uri="{FF2B5EF4-FFF2-40B4-BE49-F238E27FC236}">
                <a16:creationId xmlns:a16="http://schemas.microsoft.com/office/drawing/2014/main" id="{E2BF2079-2BFA-41AA-A9CF-83908F47EF3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164" name="ZoneTexte 163">
            <a:extLst>
              <a:ext uri="{FF2B5EF4-FFF2-40B4-BE49-F238E27FC236}">
                <a16:creationId xmlns:a16="http://schemas.microsoft.com/office/drawing/2014/main" id="{A9FD5F75-AAC0-484B-BC01-861400014055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71B857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165" name="ZoneTexte 164">
            <a:extLst>
              <a:ext uri="{FF2B5EF4-FFF2-40B4-BE49-F238E27FC236}">
                <a16:creationId xmlns:a16="http://schemas.microsoft.com/office/drawing/2014/main" id="{BE406F89-1C3D-4B08-BD6C-6D71A75C84CD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516B8D34-46E5-4E08-A3D1-75152FFA29DE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7" name="TextBox 18">
            <a:extLst>
              <a:ext uri="{FF2B5EF4-FFF2-40B4-BE49-F238E27FC236}">
                <a16:creationId xmlns:a16="http://schemas.microsoft.com/office/drawing/2014/main" id="{6A8A12AF-4C39-4100-AC95-B297A17288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07FD7D73-85A7-4EC3-A0C9-C99AEF188AAB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9" name="TextBox 18">
            <a:extLst>
              <a:ext uri="{FF2B5EF4-FFF2-40B4-BE49-F238E27FC236}">
                <a16:creationId xmlns:a16="http://schemas.microsoft.com/office/drawing/2014/main" id="{146CEDA2-2026-4D1A-8BBD-651CBDFD5D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0" name="TextBox 18">
            <a:extLst>
              <a:ext uri="{FF2B5EF4-FFF2-40B4-BE49-F238E27FC236}">
                <a16:creationId xmlns:a16="http://schemas.microsoft.com/office/drawing/2014/main" id="{62273BBD-F94F-4CDB-9055-30AFF72B4F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1" name="TextBox 18">
            <a:extLst>
              <a:ext uri="{FF2B5EF4-FFF2-40B4-BE49-F238E27FC236}">
                <a16:creationId xmlns:a16="http://schemas.microsoft.com/office/drawing/2014/main" id="{6A82B943-BB3F-42E0-81A9-2AE928B56C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2" name="TextBox 18">
            <a:extLst>
              <a:ext uri="{FF2B5EF4-FFF2-40B4-BE49-F238E27FC236}">
                <a16:creationId xmlns:a16="http://schemas.microsoft.com/office/drawing/2014/main" id="{9C7AE00D-429A-4FA4-ADB8-E058517C1A7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3" name="Espace réservé du texte 3">
            <a:extLst>
              <a:ext uri="{FF2B5EF4-FFF2-40B4-BE49-F238E27FC236}">
                <a16:creationId xmlns:a16="http://schemas.microsoft.com/office/drawing/2014/main" id="{F8514E63-6F2D-4C52-87FB-0BF8EF7B87C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E54C0F6-C6C3-41B3-A7FB-1D86B9FD9623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ECF900D3-79EF-4E0D-BEB1-24D9433955B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Rectangle 77">
            <a:extLst>
              <a:ext uri="{FF2B5EF4-FFF2-40B4-BE49-F238E27FC236}">
                <a16:creationId xmlns:a16="http://schemas.microsoft.com/office/drawing/2014/main" id="{2D3C1BAD-58A7-45B3-ABDA-FC2DF8E281FC}"/>
              </a:ext>
            </a:extLst>
          </p:cNvPr>
          <p:cNvSpPr/>
          <p:nvPr userDrawn="1"/>
        </p:nvSpPr>
        <p:spPr>
          <a:xfrm>
            <a:off x="3956986" y="5157130"/>
            <a:ext cx="3236847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9" name="TextBox 18">
            <a:extLst>
              <a:ext uri="{FF2B5EF4-FFF2-40B4-BE49-F238E27FC236}">
                <a16:creationId xmlns:a16="http://schemas.microsoft.com/office/drawing/2014/main" id="{1C84FA40-52FF-40E8-AD80-32DEB0499E6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505283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3BCA3D05-35CE-4518-BAF9-2D429DFE048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0B18D8FD-022A-4B23-A72F-80A6DCE0EEA9}"/>
              </a:ext>
            </a:extLst>
          </p:cNvPr>
          <p:cNvSpPr/>
          <p:nvPr userDrawn="1"/>
        </p:nvSpPr>
        <p:spPr>
          <a:xfrm>
            <a:off x="3967839" y="4466184"/>
            <a:ext cx="3236847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2" name="TextBox 18">
            <a:extLst>
              <a:ext uri="{FF2B5EF4-FFF2-40B4-BE49-F238E27FC236}">
                <a16:creationId xmlns:a16="http://schemas.microsoft.com/office/drawing/2014/main" id="{D6789F3F-ADBC-44E4-92AD-9E71B670DDE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4381816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84" name="Espace réservé du texte 3">
            <a:extLst>
              <a:ext uri="{FF2B5EF4-FFF2-40B4-BE49-F238E27FC236}">
                <a16:creationId xmlns:a16="http://schemas.microsoft.com/office/drawing/2014/main" id="{6C5B71FC-00BA-4E50-9785-9D86176ECD6A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96378" y="4584765"/>
            <a:ext cx="3007642" cy="31363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</p:spTree>
    <p:extLst>
      <p:ext uri="{BB962C8B-B14F-4D97-AF65-F5344CB8AC3E}">
        <p14:creationId xmlns:p14="http://schemas.microsoft.com/office/powerpoint/2010/main" val="31089604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71B857"/>
                </a:solidFill>
              </a:defRPr>
            </a:lvl1pPr>
          </a:lstStyle>
          <a:p>
            <a:r>
              <a:rPr lang="fr-FR" noProof="0"/>
              <a:t>Bénéfices environnementaux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80C9E841-2A77-4835-89E0-D59C34A729AE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E6C51E3C-7B06-4C9A-8172-197E12A5E5E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F385CA74-4B74-46B5-AB07-9A76E2BE1B57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1" name="TextBox 18">
            <a:extLst>
              <a:ext uri="{FF2B5EF4-FFF2-40B4-BE49-F238E27FC236}">
                <a16:creationId xmlns:a16="http://schemas.microsoft.com/office/drawing/2014/main" id="{EBD5D44F-BB5C-4ED5-824B-4B627A6474D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77896D4C-8293-4A57-8E0E-06192EF943AE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9608474-2FD2-40BE-BF6E-BF1E73C24748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E18838CE-FFC9-4EDF-A0EF-874E7A0FD033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D723203A-FD89-4EE4-8E68-3FBB8CFFB76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TextBox 18">
            <a:extLst>
              <a:ext uri="{FF2B5EF4-FFF2-40B4-BE49-F238E27FC236}">
                <a16:creationId xmlns:a16="http://schemas.microsoft.com/office/drawing/2014/main" id="{91D8D399-C923-4AEA-95FC-C0CA6BCAEC4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C849894F-45D9-4E90-AF3A-E3C898C8E1E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TextBox 18">
            <a:extLst>
              <a:ext uri="{FF2B5EF4-FFF2-40B4-BE49-F238E27FC236}">
                <a16:creationId xmlns:a16="http://schemas.microsoft.com/office/drawing/2014/main" id="{5C40679B-5FA5-423F-BC9C-3BB68109A6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Espace réservé du texte 53">
            <a:extLst>
              <a:ext uri="{FF2B5EF4-FFF2-40B4-BE49-F238E27FC236}">
                <a16:creationId xmlns:a16="http://schemas.microsoft.com/office/drawing/2014/main" id="{73D9AAC1-5652-41D8-979C-310FEF85AEF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6" name="Espace réservé du texte 63">
            <a:extLst>
              <a:ext uri="{FF2B5EF4-FFF2-40B4-BE49-F238E27FC236}">
                <a16:creationId xmlns:a16="http://schemas.microsoft.com/office/drawing/2014/main" id="{EC2FCC90-0BC1-42DC-BC3A-CA06DA3CE0E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44135311-4479-42CE-A605-67E925C4E1C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8" name="TextBox 18">
            <a:extLst>
              <a:ext uri="{FF2B5EF4-FFF2-40B4-BE49-F238E27FC236}">
                <a16:creationId xmlns:a16="http://schemas.microsoft.com/office/drawing/2014/main" id="{53499A76-1C90-4985-8AA7-42B047C164A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9" name="TextBox 18">
            <a:extLst>
              <a:ext uri="{FF2B5EF4-FFF2-40B4-BE49-F238E27FC236}">
                <a16:creationId xmlns:a16="http://schemas.microsoft.com/office/drawing/2014/main" id="{DDB101EB-BDD0-42EE-ACB1-96C3C497D2B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AF81082-61C2-42D3-8212-5EA316740D58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1" name="Espace réservé du texte 55">
            <a:extLst>
              <a:ext uri="{FF2B5EF4-FFF2-40B4-BE49-F238E27FC236}">
                <a16:creationId xmlns:a16="http://schemas.microsoft.com/office/drawing/2014/main" id="{C2F47783-9FCE-420B-9B0B-8FDFB05684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2" name="TextBox 18">
            <a:extLst>
              <a:ext uri="{FF2B5EF4-FFF2-40B4-BE49-F238E27FC236}">
                <a16:creationId xmlns:a16="http://schemas.microsoft.com/office/drawing/2014/main" id="{5454639F-83E7-45CD-8DF1-49CAF2CA38F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3" name="Espace réservé du texte 3">
            <a:extLst>
              <a:ext uri="{FF2B5EF4-FFF2-40B4-BE49-F238E27FC236}">
                <a16:creationId xmlns:a16="http://schemas.microsoft.com/office/drawing/2014/main" id="{E1FBE571-C58D-432A-B0D5-3F74EEBD76F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4" name="Rounded Rectangle 4">
            <a:extLst>
              <a:ext uri="{FF2B5EF4-FFF2-40B4-BE49-F238E27FC236}">
                <a16:creationId xmlns:a16="http://schemas.microsoft.com/office/drawing/2014/main" id="{F4A874EF-A23D-4CA9-B2EC-9E3081B39031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5" name="Rounded Rectangle 4">
            <a:extLst>
              <a:ext uri="{FF2B5EF4-FFF2-40B4-BE49-F238E27FC236}">
                <a16:creationId xmlns:a16="http://schemas.microsoft.com/office/drawing/2014/main" id="{7537DA64-2591-46E2-A943-1F4D9BA1E4B6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6" name="Espace réservé du texte 5">
            <a:extLst>
              <a:ext uri="{FF2B5EF4-FFF2-40B4-BE49-F238E27FC236}">
                <a16:creationId xmlns:a16="http://schemas.microsoft.com/office/drawing/2014/main" id="{C00CA4E9-AFD9-41F2-827F-41695F10269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7" name="Espace réservé du texte 46">
            <a:extLst>
              <a:ext uri="{FF2B5EF4-FFF2-40B4-BE49-F238E27FC236}">
                <a16:creationId xmlns:a16="http://schemas.microsoft.com/office/drawing/2014/main" id="{333D18E1-7701-4E57-B855-F60BA5F221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8" name="Espace réservé du texte 48">
            <a:extLst>
              <a:ext uri="{FF2B5EF4-FFF2-40B4-BE49-F238E27FC236}">
                <a16:creationId xmlns:a16="http://schemas.microsoft.com/office/drawing/2014/main" id="{67834326-7CEA-4CC5-A96F-5E191FD3B18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29" name="Rounded Rectangle 4">
            <a:extLst>
              <a:ext uri="{FF2B5EF4-FFF2-40B4-BE49-F238E27FC236}">
                <a16:creationId xmlns:a16="http://schemas.microsoft.com/office/drawing/2014/main" id="{FDA43943-133B-48CE-A68B-8634DE6DF8EF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0" name="Espace réservé du texte 5">
            <a:extLst>
              <a:ext uri="{FF2B5EF4-FFF2-40B4-BE49-F238E27FC236}">
                <a16:creationId xmlns:a16="http://schemas.microsoft.com/office/drawing/2014/main" id="{783EED26-7B25-4886-A02B-13BCDEF02EBC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0661C69-6683-45FF-8DD0-62C9D514BFBF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2" name="Espace réservé du texte 15">
            <a:extLst>
              <a:ext uri="{FF2B5EF4-FFF2-40B4-BE49-F238E27FC236}">
                <a16:creationId xmlns:a16="http://schemas.microsoft.com/office/drawing/2014/main" id="{53530268-F98C-4EB6-819C-0A3E272F70D7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A9766084-FA77-44A4-952F-7AE0AFC46DEF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4" name="TextBox 18">
            <a:extLst>
              <a:ext uri="{FF2B5EF4-FFF2-40B4-BE49-F238E27FC236}">
                <a16:creationId xmlns:a16="http://schemas.microsoft.com/office/drawing/2014/main" id="{6C21B368-3BAB-48AA-93E5-FC134E2A665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5" name="Rounded Rectangle 4">
            <a:extLst>
              <a:ext uri="{FF2B5EF4-FFF2-40B4-BE49-F238E27FC236}">
                <a16:creationId xmlns:a16="http://schemas.microsoft.com/office/drawing/2014/main" id="{E3FEEE2B-1B38-41AE-BCEF-0814071314A6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36" name="Espace réservé du texte 4">
            <a:extLst>
              <a:ext uri="{FF2B5EF4-FFF2-40B4-BE49-F238E27FC236}">
                <a16:creationId xmlns:a16="http://schemas.microsoft.com/office/drawing/2014/main" id="{3386C7C8-038B-45F0-BEEE-7499814DADD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37" name="TextBox 18">
            <a:extLst>
              <a:ext uri="{FF2B5EF4-FFF2-40B4-BE49-F238E27FC236}">
                <a16:creationId xmlns:a16="http://schemas.microsoft.com/office/drawing/2014/main" id="{2BAFBBD7-5DD0-4C6C-896B-7014D1A38FA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8" name="Rounded Rectangle 4">
            <a:extLst>
              <a:ext uri="{FF2B5EF4-FFF2-40B4-BE49-F238E27FC236}">
                <a16:creationId xmlns:a16="http://schemas.microsoft.com/office/drawing/2014/main" id="{00267F9B-558E-4350-B0D5-1468A6B84B10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9" name="Espace réservé du texte 48">
            <a:extLst>
              <a:ext uri="{FF2B5EF4-FFF2-40B4-BE49-F238E27FC236}">
                <a16:creationId xmlns:a16="http://schemas.microsoft.com/office/drawing/2014/main" id="{EFA48D53-0954-457B-98DF-B330EAA0CBE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F2163815-75A7-44C7-B7FA-0C62055809C4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1" name="TextBox 18">
            <a:extLst>
              <a:ext uri="{FF2B5EF4-FFF2-40B4-BE49-F238E27FC236}">
                <a16:creationId xmlns:a16="http://schemas.microsoft.com/office/drawing/2014/main" id="{4E233C31-2466-4AD3-95F3-BDD183B678E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42" name="Espace réservé du texte 15">
            <a:extLst>
              <a:ext uri="{FF2B5EF4-FFF2-40B4-BE49-F238E27FC236}">
                <a16:creationId xmlns:a16="http://schemas.microsoft.com/office/drawing/2014/main" id="{9D20614D-E5D8-4F01-8D58-81FD1CB9250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43" name="Espace réservé du texte 15">
            <a:extLst>
              <a:ext uri="{FF2B5EF4-FFF2-40B4-BE49-F238E27FC236}">
                <a16:creationId xmlns:a16="http://schemas.microsoft.com/office/drawing/2014/main" id="{5AED1429-C6D0-41EC-95A1-EF458DEE2B1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44" name="TextBox 18">
            <a:extLst>
              <a:ext uri="{FF2B5EF4-FFF2-40B4-BE49-F238E27FC236}">
                <a16:creationId xmlns:a16="http://schemas.microsoft.com/office/drawing/2014/main" id="{16717B8C-4A85-4739-B086-8E1BF16FA96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5" name="Rounded Rectangle 4">
            <a:extLst>
              <a:ext uri="{FF2B5EF4-FFF2-40B4-BE49-F238E27FC236}">
                <a16:creationId xmlns:a16="http://schemas.microsoft.com/office/drawing/2014/main" id="{870CCD3E-A93F-4F5B-BA18-07BB8935C2B9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6" name="Espace réservé du texte 48">
            <a:extLst>
              <a:ext uri="{FF2B5EF4-FFF2-40B4-BE49-F238E27FC236}">
                <a16:creationId xmlns:a16="http://schemas.microsoft.com/office/drawing/2014/main" id="{87724AB7-76CD-4FB8-B0C1-F0885D161D8F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147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ADADE4D6-3E2A-4DAB-9C03-A8E6288ECE5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Rectangle 147">
            <a:extLst>
              <a:ext uri="{FF2B5EF4-FFF2-40B4-BE49-F238E27FC236}">
                <a16:creationId xmlns:a16="http://schemas.microsoft.com/office/drawing/2014/main" id="{3DEF261F-C4C6-4984-AA64-26F4CE7BD38D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54495F1C-D6E2-473B-ABD4-DE64FBBD9415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910D5ABA-32D6-4D8F-886A-4505829BA0CA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1" name="TextBox 18">
            <a:extLst>
              <a:ext uri="{FF2B5EF4-FFF2-40B4-BE49-F238E27FC236}">
                <a16:creationId xmlns:a16="http://schemas.microsoft.com/office/drawing/2014/main" id="{DAA2E24E-FA3C-47EC-9C7F-136459C4E97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067BC4E4-C1A3-4040-8007-4593036D127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3" name="TextBox 18">
            <a:extLst>
              <a:ext uri="{FF2B5EF4-FFF2-40B4-BE49-F238E27FC236}">
                <a16:creationId xmlns:a16="http://schemas.microsoft.com/office/drawing/2014/main" id="{3F83C335-FF6F-4227-A133-2FE30AE5B15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154" name="Picture 6" descr="Icône calendrier, avec, une, horloge, temps, outils">
            <a:extLst>
              <a:ext uri="{FF2B5EF4-FFF2-40B4-BE49-F238E27FC236}">
                <a16:creationId xmlns:a16="http://schemas.microsoft.com/office/drawing/2014/main" id="{F48095B5-9DB3-4E39-AF60-D7A6137FFB6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5" name="Picture 8" descr="Icône fusée, lancement">
            <a:extLst>
              <a:ext uri="{FF2B5EF4-FFF2-40B4-BE49-F238E27FC236}">
                <a16:creationId xmlns:a16="http://schemas.microsoft.com/office/drawing/2014/main" id="{3AB8FF12-A699-4337-92D4-83B78D5E12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10" descr="Icône levier">
            <a:extLst>
              <a:ext uri="{FF2B5EF4-FFF2-40B4-BE49-F238E27FC236}">
                <a16:creationId xmlns:a16="http://schemas.microsoft.com/office/drawing/2014/main" id="{A870BDCA-D5F1-43EC-B672-A05D8DD08D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" name="Flèche : droite 156">
            <a:extLst>
              <a:ext uri="{FF2B5EF4-FFF2-40B4-BE49-F238E27FC236}">
                <a16:creationId xmlns:a16="http://schemas.microsoft.com/office/drawing/2014/main" id="{2C0D4B53-E04C-41D3-8FEB-E07A0BF8022F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71B8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8" name="Espace réservé du texte 3">
            <a:extLst>
              <a:ext uri="{FF2B5EF4-FFF2-40B4-BE49-F238E27FC236}">
                <a16:creationId xmlns:a16="http://schemas.microsoft.com/office/drawing/2014/main" id="{224A9F89-1628-47DC-997F-5B1C33A1032A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159" name="Espace réservé du texte 3">
            <a:extLst>
              <a:ext uri="{FF2B5EF4-FFF2-40B4-BE49-F238E27FC236}">
                <a16:creationId xmlns:a16="http://schemas.microsoft.com/office/drawing/2014/main" id="{04CA885E-142D-4626-AD41-1A26A68FCB31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160" name="Espace réservé du texte 3">
            <a:extLst>
              <a:ext uri="{FF2B5EF4-FFF2-40B4-BE49-F238E27FC236}">
                <a16:creationId xmlns:a16="http://schemas.microsoft.com/office/drawing/2014/main" id="{9F69D744-E50D-4EF2-9DD1-3CF1974B380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74E40159-5C43-4E59-B728-B6783F1C3BF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2" name="TextBox 18">
            <a:extLst>
              <a:ext uri="{FF2B5EF4-FFF2-40B4-BE49-F238E27FC236}">
                <a16:creationId xmlns:a16="http://schemas.microsoft.com/office/drawing/2014/main" id="{03D63C83-6B95-4F71-A1FB-D9FB6044AEB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3" name="Espace réservé du texte 15">
            <a:extLst>
              <a:ext uri="{FF2B5EF4-FFF2-40B4-BE49-F238E27FC236}">
                <a16:creationId xmlns:a16="http://schemas.microsoft.com/office/drawing/2014/main" id="{E2BF2079-2BFA-41AA-A9CF-83908F47EF3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164" name="ZoneTexte 163">
            <a:extLst>
              <a:ext uri="{FF2B5EF4-FFF2-40B4-BE49-F238E27FC236}">
                <a16:creationId xmlns:a16="http://schemas.microsoft.com/office/drawing/2014/main" id="{A9FD5F75-AAC0-484B-BC01-861400014055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71B857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165" name="ZoneTexte 164">
            <a:extLst>
              <a:ext uri="{FF2B5EF4-FFF2-40B4-BE49-F238E27FC236}">
                <a16:creationId xmlns:a16="http://schemas.microsoft.com/office/drawing/2014/main" id="{BE406F89-1C3D-4B08-BD6C-6D71A75C84CD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166" name="Rectangle 165">
            <a:extLst>
              <a:ext uri="{FF2B5EF4-FFF2-40B4-BE49-F238E27FC236}">
                <a16:creationId xmlns:a16="http://schemas.microsoft.com/office/drawing/2014/main" id="{516B8D34-46E5-4E08-A3D1-75152FFA29DE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7" name="TextBox 18">
            <a:extLst>
              <a:ext uri="{FF2B5EF4-FFF2-40B4-BE49-F238E27FC236}">
                <a16:creationId xmlns:a16="http://schemas.microsoft.com/office/drawing/2014/main" id="{6A8A12AF-4C39-4100-AC95-B297A172885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07FD7D73-85A7-4EC3-A0C9-C99AEF188AAB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9" name="TextBox 18">
            <a:extLst>
              <a:ext uri="{FF2B5EF4-FFF2-40B4-BE49-F238E27FC236}">
                <a16:creationId xmlns:a16="http://schemas.microsoft.com/office/drawing/2014/main" id="{146CEDA2-2026-4D1A-8BBD-651CBDFD5DE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0" name="TextBox 18">
            <a:extLst>
              <a:ext uri="{FF2B5EF4-FFF2-40B4-BE49-F238E27FC236}">
                <a16:creationId xmlns:a16="http://schemas.microsoft.com/office/drawing/2014/main" id="{62273BBD-F94F-4CDB-9055-30AFF72B4F8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1" name="TextBox 18">
            <a:extLst>
              <a:ext uri="{FF2B5EF4-FFF2-40B4-BE49-F238E27FC236}">
                <a16:creationId xmlns:a16="http://schemas.microsoft.com/office/drawing/2014/main" id="{6A82B943-BB3F-42E0-81A9-2AE928B56C5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2" name="TextBox 18">
            <a:extLst>
              <a:ext uri="{FF2B5EF4-FFF2-40B4-BE49-F238E27FC236}">
                <a16:creationId xmlns:a16="http://schemas.microsoft.com/office/drawing/2014/main" id="{9C7AE00D-429A-4FA4-ADB8-E058517C1A7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3" name="Espace réservé du texte 3">
            <a:extLst>
              <a:ext uri="{FF2B5EF4-FFF2-40B4-BE49-F238E27FC236}">
                <a16:creationId xmlns:a16="http://schemas.microsoft.com/office/drawing/2014/main" id="{F8514E63-6F2D-4C52-87FB-0BF8EF7B87CB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</p:spTree>
    <p:extLst>
      <p:ext uri="{BB962C8B-B14F-4D97-AF65-F5344CB8AC3E}">
        <p14:creationId xmlns:p14="http://schemas.microsoft.com/office/powerpoint/2010/main" val="12808178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1322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1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gray">
          <a:xfrm>
            <a:off x="11473210" y="6318250"/>
            <a:ext cx="71608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Image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gray">
          <a:xfrm>
            <a:off x="0" y="6318250"/>
            <a:ext cx="12192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09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9" name="Object 20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e la date 10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EFA06CE-CCC2-444B-9300-9F8B75FBB93E}" type="datetime1">
              <a:rPr lang="en-GB" smtClean="0"/>
              <a:t>14/02/2024</a:t>
            </a:fld>
            <a:endParaRPr lang="fr-FR"/>
          </a:p>
        </p:txBody>
      </p:sp>
      <p:sp>
        <p:nvSpPr>
          <p:cNvPr id="11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E7B1AB0-5838-4A0A-BA1E-89A0B30053BC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sp>
        <p:nvSpPr>
          <p:cNvPr id="12" name="Espace réservé du texte 1">
            <a:extLst>
              <a:ext uri="{FF2B5EF4-FFF2-40B4-BE49-F238E27FC236}">
                <a16:creationId xmlns:a16="http://schemas.microsoft.com/office/drawing/2014/main" id="{9BB5C408-8B4E-400F-9F28-B1A39CF10BA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783417" y="354835"/>
            <a:ext cx="9408583" cy="634623"/>
          </a:xfr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defRPr sz="290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defRPr sz="21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95288"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5288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defRPr sz="12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9500"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defRPr sz="12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/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35527720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478740"/>
            <a:ext cx="3236847" cy="1944056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71B857"/>
                </a:solidFill>
              </a:defRPr>
            </a:lvl1pPr>
          </a:lstStyle>
          <a:p>
            <a:r>
              <a:rPr lang="fr-FR" noProof="0"/>
              <a:t>Bénéfices environnementaux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B13B481F-78E7-45F8-BBF0-FAC94C6B7477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71B8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71B857"/>
                </a:solidFill>
                <a:latin typeface="+mn-lt"/>
                <a:ea typeface="+mn-ea"/>
                <a:cs typeface="+mn-cs"/>
              </a:rPr>
              <a:t>Augmenter les bénéfices environnementaux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F52A6AD-0C7A-4805-B098-0256524EE5D9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E6C51E3C-7B06-4C9A-8172-197E12A5E5E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3148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5157130"/>
            <a:ext cx="3236847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505283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71B857"/>
                </a:solidFill>
              </a:defRPr>
            </a:lvl1pPr>
          </a:lstStyle>
          <a:p>
            <a:r>
              <a:rPr lang="fr-FR" noProof="0"/>
              <a:t>Bénéfices environnementaux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80FB55F3-AC7B-460F-B667-6EC6F99FE358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71B8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71B857"/>
                </a:solidFill>
                <a:latin typeface="+mn-lt"/>
                <a:ea typeface="+mn-ea"/>
                <a:cs typeface="+mn-cs"/>
              </a:rPr>
              <a:t>Augmenter les bénéfices environnementaux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F52A6AD-0C7A-4805-B098-0256524EE5D9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E6C51E3C-7B06-4C9A-8172-197E12A5E5E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DFB35ECC-FA19-493E-928D-F8AB15C9EE00}"/>
              </a:ext>
            </a:extLst>
          </p:cNvPr>
          <p:cNvSpPr/>
          <p:nvPr userDrawn="1"/>
        </p:nvSpPr>
        <p:spPr>
          <a:xfrm>
            <a:off x="3967839" y="4466184"/>
            <a:ext cx="3236847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1" name="TextBox 18">
            <a:extLst>
              <a:ext uri="{FF2B5EF4-FFF2-40B4-BE49-F238E27FC236}">
                <a16:creationId xmlns:a16="http://schemas.microsoft.com/office/drawing/2014/main" id="{E178CC99-10E3-4FEC-92E1-45CBF70AEB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4381816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5" name="Espace réservé du texte 3">
            <a:extLst>
              <a:ext uri="{FF2B5EF4-FFF2-40B4-BE49-F238E27FC236}">
                <a16:creationId xmlns:a16="http://schemas.microsoft.com/office/drawing/2014/main" id="{12B6B95D-6DA9-4BFD-9C1F-4082C7DD602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096378" y="4584765"/>
            <a:ext cx="3007642" cy="31363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</p:spTree>
    <p:extLst>
      <p:ext uri="{BB962C8B-B14F-4D97-AF65-F5344CB8AC3E}">
        <p14:creationId xmlns:p14="http://schemas.microsoft.com/office/powerpoint/2010/main" val="9019616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5157130"/>
            <a:ext cx="3236847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505283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71B857"/>
                </a:solidFill>
              </a:defRPr>
            </a:lvl1pPr>
          </a:lstStyle>
          <a:p>
            <a:r>
              <a:rPr lang="fr-FR" noProof="0"/>
              <a:t>Bénéfices environnementaux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89E4A019-49D4-41F1-9936-E39F99B4DCD7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71B8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71B857"/>
                </a:solidFill>
                <a:latin typeface="+mn-lt"/>
                <a:ea typeface="+mn-ea"/>
                <a:cs typeface="+mn-cs"/>
              </a:rPr>
              <a:t>Augmenter les bénéfices environnementaux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4F52A6AD-0C7A-4805-B098-0256524EE5D9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pic>
        <p:nvPicPr>
          <p:cNvPr id="72" name="Image 71">
            <a:extLst>
              <a:ext uri="{FF2B5EF4-FFF2-40B4-BE49-F238E27FC236}">
                <a16:creationId xmlns:a16="http://schemas.microsoft.com/office/drawing/2014/main" id="{E6C51E3C-7B06-4C9A-8172-197E12A5E5E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89" name="Rectangle 88">
            <a:extLst>
              <a:ext uri="{FF2B5EF4-FFF2-40B4-BE49-F238E27FC236}">
                <a16:creationId xmlns:a16="http://schemas.microsoft.com/office/drawing/2014/main" id="{DFB35ECC-FA19-493E-928D-F8AB15C9EE00}"/>
              </a:ext>
            </a:extLst>
          </p:cNvPr>
          <p:cNvSpPr/>
          <p:nvPr userDrawn="1"/>
        </p:nvSpPr>
        <p:spPr>
          <a:xfrm>
            <a:off x="3967839" y="4466184"/>
            <a:ext cx="3236847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1" name="TextBox 18">
            <a:extLst>
              <a:ext uri="{FF2B5EF4-FFF2-40B4-BE49-F238E27FC236}">
                <a16:creationId xmlns:a16="http://schemas.microsoft.com/office/drawing/2014/main" id="{E178CC99-10E3-4FEC-92E1-45CBF70AEB8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4381816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5" name="Espace réservé du texte 3">
            <a:extLst>
              <a:ext uri="{FF2B5EF4-FFF2-40B4-BE49-F238E27FC236}">
                <a16:creationId xmlns:a16="http://schemas.microsoft.com/office/drawing/2014/main" id="{12B6B95D-6DA9-4BFD-9C1F-4082C7DD6028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096378" y="4584765"/>
            <a:ext cx="3007642" cy="31363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</p:spTree>
    <p:extLst>
      <p:ext uri="{BB962C8B-B14F-4D97-AF65-F5344CB8AC3E}">
        <p14:creationId xmlns:p14="http://schemas.microsoft.com/office/powerpoint/2010/main" val="90196164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180488"/>
            <a:ext cx="3237902" cy="3290490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1078935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670312"/>
            <a:ext cx="3236847" cy="1752483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64201" y="459300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E4C9D361-8ECF-427C-9517-2091C29C0BEB}"/>
              </a:ext>
            </a:extLst>
          </p:cNvPr>
          <p:cNvSpPr txBox="1"/>
          <p:nvPr userDrawn="1"/>
        </p:nvSpPr>
        <p:spPr>
          <a:xfrm>
            <a:off x="9765804" y="6407770"/>
            <a:ext cx="2029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Légende :           Instance de pilotage           Livrable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302519"/>
            <a:ext cx="3007642" cy="30227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09672" y="4593008"/>
            <a:ext cx="1450648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 an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2C71B1"/>
                </a:solidFill>
              </a:defRPr>
            </a:lvl1pPr>
          </a:lstStyle>
          <a:p>
            <a:r>
              <a:rPr lang="fr-FR" noProof="0"/>
              <a:t>Nom du projet R&amp;D / 12 mois (prédéfinis)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2C71B1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Espace réservé du texte 15">
            <a:extLst>
              <a:ext uri="{FF2B5EF4-FFF2-40B4-BE49-F238E27FC236}">
                <a16:creationId xmlns:a16="http://schemas.microsoft.com/office/drawing/2014/main" id="{27DC36B3-DFD4-4503-8CEE-55122F485B4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3551" y="1261185"/>
            <a:ext cx="3305067" cy="20485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En attente de financement / A évaluer </a:t>
            </a: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4B91DE90-D84A-4848-B893-6381C03F4862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2C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</p:spTree>
    <p:extLst>
      <p:ext uri="{BB962C8B-B14F-4D97-AF65-F5344CB8AC3E}">
        <p14:creationId xmlns:p14="http://schemas.microsoft.com/office/powerpoint/2010/main" val="40024401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180488"/>
            <a:ext cx="3237902" cy="3290490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1078935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670312"/>
            <a:ext cx="3236847" cy="1752483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64201" y="459300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E4C9D361-8ECF-427C-9517-2091C29C0BEB}"/>
              </a:ext>
            </a:extLst>
          </p:cNvPr>
          <p:cNvSpPr txBox="1"/>
          <p:nvPr userDrawn="1"/>
        </p:nvSpPr>
        <p:spPr>
          <a:xfrm>
            <a:off x="9765804" y="6407770"/>
            <a:ext cx="2029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Légende :           Instance de pilotage           Livrable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302519"/>
            <a:ext cx="3007642" cy="30227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09672" y="4593008"/>
            <a:ext cx="1450648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 an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00B1AF"/>
                </a:solidFill>
              </a:defRPr>
            </a:lvl1pPr>
          </a:lstStyle>
          <a:p>
            <a:r>
              <a:rPr lang="fr-FR" noProof="0"/>
              <a:t>Nom du projet R&amp;D / 12 mois (prédéfinis)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B1AF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Espace réservé du texte 15">
            <a:extLst>
              <a:ext uri="{FF2B5EF4-FFF2-40B4-BE49-F238E27FC236}">
                <a16:creationId xmlns:a16="http://schemas.microsoft.com/office/drawing/2014/main" id="{27DC36B3-DFD4-4503-8CEE-55122F485B4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3551" y="1261185"/>
            <a:ext cx="3305067" cy="20485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En attente de financement / A évaluer </a:t>
            </a: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59377B53-1AE7-49E2-98E2-DD7A05602C4E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B1AF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B1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</p:spTree>
    <p:extLst>
      <p:ext uri="{BB962C8B-B14F-4D97-AF65-F5344CB8AC3E}">
        <p14:creationId xmlns:p14="http://schemas.microsoft.com/office/powerpoint/2010/main" val="16279642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180488"/>
            <a:ext cx="3237902" cy="3290490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1078935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670312"/>
            <a:ext cx="3236847" cy="1752483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64201" y="459300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E4C9D361-8ECF-427C-9517-2091C29C0BEB}"/>
              </a:ext>
            </a:extLst>
          </p:cNvPr>
          <p:cNvSpPr txBox="1"/>
          <p:nvPr userDrawn="1"/>
        </p:nvSpPr>
        <p:spPr>
          <a:xfrm>
            <a:off x="9765804" y="6407770"/>
            <a:ext cx="2029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Légende :           Instance de pilotage           Livrable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302519"/>
            <a:ext cx="3007642" cy="30227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09672" y="4593008"/>
            <a:ext cx="1450648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 an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71B857"/>
                </a:solidFill>
              </a:defRPr>
            </a:lvl1pPr>
          </a:lstStyle>
          <a:p>
            <a:r>
              <a:rPr lang="fr-FR" noProof="0"/>
              <a:t>Nom du projet R&amp;D / 12 mois (prédéfinis)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71B857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Espace réservé du texte 15">
            <a:extLst>
              <a:ext uri="{FF2B5EF4-FFF2-40B4-BE49-F238E27FC236}">
                <a16:creationId xmlns:a16="http://schemas.microsoft.com/office/drawing/2014/main" id="{27DC36B3-DFD4-4503-8CEE-55122F485B4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3551" y="1261185"/>
            <a:ext cx="3305067" cy="20485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En attente de financement / A évaluer </a:t>
            </a: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6F8A0623-90D4-4974-B344-113EFF893346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71B857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71B8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</p:spTree>
    <p:extLst>
      <p:ext uri="{BB962C8B-B14F-4D97-AF65-F5344CB8AC3E}">
        <p14:creationId xmlns:p14="http://schemas.microsoft.com/office/powerpoint/2010/main" val="5879604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180488"/>
            <a:ext cx="3237902" cy="3290490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1078935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670312"/>
            <a:ext cx="3236847" cy="1752483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64201" y="459300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E4C9D361-8ECF-427C-9517-2091C29C0BEB}"/>
              </a:ext>
            </a:extLst>
          </p:cNvPr>
          <p:cNvSpPr txBox="1"/>
          <p:nvPr userDrawn="1"/>
        </p:nvSpPr>
        <p:spPr>
          <a:xfrm>
            <a:off x="9765804" y="6407770"/>
            <a:ext cx="2029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Légende :           Instance de pilotage           Livrable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302519"/>
            <a:ext cx="3007642" cy="30227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09672" y="4593008"/>
            <a:ext cx="1450648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 an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FAB000"/>
                </a:solidFill>
              </a:defRPr>
            </a:lvl1pPr>
          </a:lstStyle>
          <a:p>
            <a:r>
              <a:rPr lang="fr-FR" noProof="0"/>
              <a:t>Nom du projet R&amp;D / 12 mois (prédéfinis)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FAB000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Espace réservé du texte 15">
            <a:extLst>
              <a:ext uri="{FF2B5EF4-FFF2-40B4-BE49-F238E27FC236}">
                <a16:creationId xmlns:a16="http://schemas.microsoft.com/office/drawing/2014/main" id="{27DC36B3-DFD4-4503-8CEE-55122F485B4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3551" y="1261185"/>
            <a:ext cx="3305067" cy="20485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En attente de financement / A évaluer </a:t>
            </a: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A7E96401-0A6E-4542-9B26-A978F6E0344D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FAB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AB000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FAB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AB000"/>
              </a:solidFill>
            </a:endParaRPr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</p:spTree>
    <p:extLst>
      <p:ext uri="{BB962C8B-B14F-4D97-AF65-F5344CB8AC3E}">
        <p14:creationId xmlns:p14="http://schemas.microsoft.com/office/powerpoint/2010/main" val="371315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&amp;D Envisagés 24 Mois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2EC1752B-D63F-41C7-9811-6F4BECBBE969}"/>
              </a:ext>
            </a:extLst>
          </p:cNvPr>
          <p:cNvSpPr/>
          <p:nvPr userDrawn="1"/>
        </p:nvSpPr>
        <p:spPr>
          <a:xfrm>
            <a:off x="9521056" y="4576139"/>
            <a:ext cx="2227393" cy="311689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78806" y="1180488"/>
            <a:ext cx="3237902" cy="1764156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1078935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74347"/>
            <a:ext cx="2212402" cy="1098361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77752" y="3170077"/>
            <a:ext cx="3237901" cy="1752483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8496"/>
            <a:ext cx="2227393" cy="1751941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65151" y="3051782"/>
            <a:ext cx="68504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08000" indent="-108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E4C9D361-8ECF-427C-9517-2091C29C0BEB}"/>
              </a:ext>
            </a:extLst>
          </p:cNvPr>
          <p:cNvSpPr txBox="1"/>
          <p:nvPr userDrawn="1"/>
        </p:nvSpPr>
        <p:spPr>
          <a:xfrm>
            <a:off x="9765804" y="6407770"/>
            <a:ext cx="2029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Légende :           Instance de pilotage           Livrable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81639" y="4454165"/>
            <a:ext cx="161525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3977753" y="5166961"/>
            <a:ext cx="7770696" cy="1255834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84375" y="5053675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82419"/>
            <a:ext cx="1260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1704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63610" y="1301428"/>
            <a:ext cx="1734951" cy="1560064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577334" y="1070319"/>
            <a:ext cx="145130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302519"/>
            <a:ext cx="3007642" cy="1536271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71484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71213" y="2015590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7098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1445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9272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  <a:p>
            <a:pPr lvl="0"/>
            <a:r>
              <a:rPr lang="fr-FR"/>
              <a:t>Prénom Nom (entité)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8569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602201" y="4698113"/>
            <a:ext cx="2058119" cy="141570"/>
          </a:xfrm>
        </p:spPr>
        <p:txBody>
          <a:bodyPr anchor="ctr"/>
          <a:lstStyle>
            <a:lvl1pPr algn="ctr"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 ans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34234" y="3160321"/>
            <a:ext cx="1999200" cy="438553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385914" y="3215933"/>
            <a:ext cx="1947519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2624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Nom du projet R&amp;D / 24 mois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739063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7098" y="2745514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  <a:p>
            <a:pPr lvl="0"/>
            <a:r>
              <a:rPr lang="fr-FR"/>
              <a:t>Prénom Nom (entité)</a:t>
            </a:r>
          </a:p>
        </p:txBody>
      </p:sp>
      <p:sp>
        <p:nvSpPr>
          <p:cNvPr id="89" name="Rounded Rectangle 4">
            <a:extLst>
              <a:ext uri="{FF2B5EF4-FFF2-40B4-BE49-F238E27FC236}">
                <a16:creationId xmlns:a16="http://schemas.microsoft.com/office/drawing/2014/main" id="{5B2A619F-B929-4A29-B2E1-4EDD0E75C921}"/>
              </a:ext>
            </a:extLst>
          </p:cNvPr>
          <p:cNvSpPr/>
          <p:nvPr userDrawn="1"/>
        </p:nvSpPr>
        <p:spPr>
          <a:xfrm>
            <a:off x="461265" y="3171460"/>
            <a:ext cx="1227245" cy="14889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Partenariat GRDF 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pic>
        <p:nvPicPr>
          <p:cNvPr id="5" name="Image 4" descr="Une image contenant horloge, dessin&#10;&#10;Description générée automatiquement">
            <a:extLst>
              <a:ext uri="{FF2B5EF4-FFF2-40B4-BE49-F238E27FC236}">
                <a16:creationId xmlns:a16="http://schemas.microsoft.com/office/drawing/2014/main" id="{ADCA8519-C339-4445-91E7-C8F30F7208D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85540" y="1691086"/>
            <a:ext cx="577714" cy="152891"/>
          </a:xfrm>
          <a:prstGeom prst="rect">
            <a:avLst/>
          </a:prstGeom>
        </p:spPr>
      </p:pic>
      <p:pic>
        <p:nvPicPr>
          <p:cNvPr id="8" name="Image 7" descr="Une image contenant dessin&#10;&#10;Description générée automatiquement">
            <a:extLst>
              <a:ext uri="{FF2B5EF4-FFF2-40B4-BE49-F238E27FC236}">
                <a16:creationId xmlns:a16="http://schemas.microsoft.com/office/drawing/2014/main" id="{020AE017-7265-4C9D-82B6-51361157010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55777" y="2105154"/>
            <a:ext cx="776722" cy="198064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C9F8E8B0-79F8-4DD2-8FB0-31F2876021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294" b="30656"/>
          <a:stretch/>
        </p:blipFill>
        <p:spPr>
          <a:xfrm>
            <a:off x="-968449" y="2375899"/>
            <a:ext cx="748708" cy="277401"/>
          </a:xfrm>
          <a:prstGeom prst="rect">
            <a:avLst/>
          </a:prstGeom>
        </p:spPr>
      </p:pic>
      <p:pic>
        <p:nvPicPr>
          <p:cNvPr id="22" name="Image 21" descr="Une image contenant dessin&#10;&#10;Description générée automatiquement">
            <a:extLst>
              <a:ext uri="{FF2B5EF4-FFF2-40B4-BE49-F238E27FC236}">
                <a16:creationId xmlns:a16="http://schemas.microsoft.com/office/drawing/2014/main" id="{B91E25DF-06A9-4DA3-BDB3-445033BCC0B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81601" y="1888339"/>
            <a:ext cx="458206" cy="223853"/>
          </a:xfrm>
          <a:prstGeom prst="rect">
            <a:avLst/>
          </a:prstGeom>
        </p:spPr>
      </p:pic>
      <p:sp>
        <p:nvSpPr>
          <p:cNvPr id="99" name="Espace réservé du texte 46">
            <a:extLst>
              <a:ext uri="{FF2B5EF4-FFF2-40B4-BE49-F238E27FC236}">
                <a16:creationId xmlns:a16="http://schemas.microsoft.com/office/drawing/2014/main" id="{6D912D83-4B65-41DC-93C7-6007F57F8D90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1757905" y="3170077"/>
            <a:ext cx="1999606" cy="156366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Aucun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6702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Espace réservé du texte 15">
            <a:extLst>
              <a:ext uri="{FF2B5EF4-FFF2-40B4-BE49-F238E27FC236}">
                <a16:creationId xmlns:a16="http://schemas.microsoft.com/office/drawing/2014/main" id="{27DC36B3-DFD4-4503-8CEE-55122F485B42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43551" y="1261185"/>
            <a:ext cx="3305067" cy="20485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En attente de financement / A évaluer </a:t>
            </a: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96600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67C51BF-434D-4D81-953A-D2DD195A85E2}"/>
              </a:ext>
            </a:extLst>
          </p:cNvPr>
          <p:cNvSpPr/>
          <p:nvPr userDrawn="1"/>
        </p:nvSpPr>
        <p:spPr>
          <a:xfrm>
            <a:off x="7347844" y="3934153"/>
            <a:ext cx="1999200" cy="338555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27793" y="3820488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B346113B-7A3B-43AC-A056-DC9331D33BB9}"/>
              </a:ext>
            </a:extLst>
          </p:cNvPr>
          <p:cNvSpPr/>
          <p:nvPr userDrawn="1"/>
        </p:nvSpPr>
        <p:spPr>
          <a:xfrm>
            <a:off x="7350159" y="4576139"/>
            <a:ext cx="1996886" cy="338555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79CC9BCE-C89E-495D-A53C-4BBB0121BFCE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graphicFrame>
        <p:nvGraphicFramePr>
          <p:cNvPr id="77" name="Tableau 76">
            <a:extLst>
              <a:ext uri="{FF2B5EF4-FFF2-40B4-BE49-F238E27FC236}">
                <a16:creationId xmlns:a16="http://schemas.microsoft.com/office/drawing/2014/main" id="{2432E501-B4EB-443E-841A-C2DC7AE50884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82853253"/>
              </p:ext>
            </p:extLst>
          </p:nvPr>
        </p:nvGraphicFramePr>
        <p:xfrm>
          <a:off x="4068000" y="5292000"/>
          <a:ext cx="7505560" cy="10061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8195">
                  <a:extLst>
                    <a:ext uri="{9D8B030D-6E8A-4147-A177-3AD203B41FA5}">
                      <a16:colId xmlns:a16="http://schemas.microsoft.com/office/drawing/2014/main" val="3210430152"/>
                    </a:ext>
                  </a:extLst>
                </a:gridCol>
                <a:gridCol w="938195">
                  <a:extLst>
                    <a:ext uri="{9D8B030D-6E8A-4147-A177-3AD203B41FA5}">
                      <a16:colId xmlns:a16="http://schemas.microsoft.com/office/drawing/2014/main" val="1145274007"/>
                    </a:ext>
                  </a:extLst>
                </a:gridCol>
                <a:gridCol w="938195">
                  <a:extLst>
                    <a:ext uri="{9D8B030D-6E8A-4147-A177-3AD203B41FA5}">
                      <a16:colId xmlns:a16="http://schemas.microsoft.com/office/drawing/2014/main" val="1007867950"/>
                    </a:ext>
                  </a:extLst>
                </a:gridCol>
                <a:gridCol w="938195">
                  <a:extLst>
                    <a:ext uri="{9D8B030D-6E8A-4147-A177-3AD203B41FA5}">
                      <a16:colId xmlns:a16="http://schemas.microsoft.com/office/drawing/2014/main" val="2340845298"/>
                    </a:ext>
                  </a:extLst>
                </a:gridCol>
                <a:gridCol w="938195">
                  <a:extLst>
                    <a:ext uri="{9D8B030D-6E8A-4147-A177-3AD203B41FA5}">
                      <a16:colId xmlns:a16="http://schemas.microsoft.com/office/drawing/2014/main" val="768134275"/>
                    </a:ext>
                  </a:extLst>
                </a:gridCol>
                <a:gridCol w="938195">
                  <a:extLst>
                    <a:ext uri="{9D8B030D-6E8A-4147-A177-3AD203B41FA5}">
                      <a16:colId xmlns:a16="http://schemas.microsoft.com/office/drawing/2014/main" val="2650674513"/>
                    </a:ext>
                  </a:extLst>
                </a:gridCol>
                <a:gridCol w="938195">
                  <a:extLst>
                    <a:ext uri="{9D8B030D-6E8A-4147-A177-3AD203B41FA5}">
                      <a16:colId xmlns:a16="http://schemas.microsoft.com/office/drawing/2014/main" val="2630745404"/>
                    </a:ext>
                  </a:extLst>
                </a:gridCol>
                <a:gridCol w="938195">
                  <a:extLst>
                    <a:ext uri="{9D8B030D-6E8A-4147-A177-3AD203B41FA5}">
                      <a16:colId xmlns:a16="http://schemas.microsoft.com/office/drawing/2014/main" val="4034614990"/>
                    </a:ext>
                  </a:extLst>
                </a:gridCol>
              </a:tblGrid>
              <a:tr h="189818"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0279"/>
                  </a:ext>
                </a:extLst>
              </a:tr>
              <a:tr h="762315"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6500540"/>
                  </a:ext>
                </a:extLst>
              </a:tr>
            </a:tbl>
          </a:graphicData>
        </a:graphic>
      </p:graphicFrame>
      <p:sp>
        <p:nvSpPr>
          <p:cNvPr id="80" name="Espace réservé du texte 4">
            <a:extLst>
              <a:ext uri="{FF2B5EF4-FFF2-40B4-BE49-F238E27FC236}">
                <a16:creationId xmlns:a16="http://schemas.microsoft.com/office/drawing/2014/main" id="{60DD1291-7058-4105-8505-7C4BB8B07562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162482" y="5359322"/>
            <a:ext cx="906571" cy="166199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88" name="Espace réservé du texte 4">
            <a:extLst>
              <a:ext uri="{FF2B5EF4-FFF2-40B4-BE49-F238E27FC236}">
                <a16:creationId xmlns:a16="http://schemas.microsoft.com/office/drawing/2014/main" id="{0DF1D872-F220-45F0-972E-1C2D965FBA1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02447" y="5372552"/>
            <a:ext cx="906571" cy="166199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94" name="Espace réservé du texte 4">
            <a:extLst>
              <a:ext uri="{FF2B5EF4-FFF2-40B4-BE49-F238E27FC236}">
                <a16:creationId xmlns:a16="http://schemas.microsoft.com/office/drawing/2014/main" id="{4808DE20-A38B-4DFA-A72B-837762DE2D5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001691" y="5372553"/>
            <a:ext cx="906571" cy="166199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95" name="Espace réservé du texte 4">
            <a:extLst>
              <a:ext uri="{FF2B5EF4-FFF2-40B4-BE49-F238E27FC236}">
                <a16:creationId xmlns:a16="http://schemas.microsoft.com/office/drawing/2014/main" id="{E5411877-F87B-41C8-B080-9366ADD257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937261" y="5372554"/>
            <a:ext cx="906571" cy="166199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96" name="Espace réservé du texte 4">
            <a:extLst>
              <a:ext uri="{FF2B5EF4-FFF2-40B4-BE49-F238E27FC236}">
                <a16:creationId xmlns:a16="http://schemas.microsoft.com/office/drawing/2014/main" id="{73A1E4E2-64A0-49E3-94BC-6F32EF2E953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864914" y="5372554"/>
            <a:ext cx="906571" cy="166199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97" name="Espace réservé du texte 4">
            <a:extLst>
              <a:ext uri="{FF2B5EF4-FFF2-40B4-BE49-F238E27FC236}">
                <a16:creationId xmlns:a16="http://schemas.microsoft.com/office/drawing/2014/main" id="{338D8F4B-3166-4390-A309-81BF58BBC4E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8781275" y="5372555"/>
            <a:ext cx="906571" cy="166199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13" name="Espace réservé du texte 4">
            <a:extLst>
              <a:ext uri="{FF2B5EF4-FFF2-40B4-BE49-F238E27FC236}">
                <a16:creationId xmlns:a16="http://schemas.microsoft.com/office/drawing/2014/main" id="{D85C6A79-5BF6-4603-808F-579E357305C9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746744" y="5372555"/>
            <a:ext cx="906571" cy="166199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16" name="Espace réservé du texte 4">
            <a:extLst>
              <a:ext uri="{FF2B5EF4-FFF2-40B4-BE49-F238E27FC236}">
                <a16:creationId xmlns:a16="http://schemas.microsoft.com/office/drawing/2014/main" id="{A2395784-FB31-46E4-97C1-7B53A75A7F7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0688562" y="5377359"/>
            <a:ext cx="906571" cy="166199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74" name="TextBox 18">
            <a:extLst>
              <a:ext uri="{FF2B5EF4-FFF2-40B4-BE49-F238E27FC236}">
                <a16:creationId xmlns:a16="http://schemas.microsoft.com/office/drawing/2014/main" id="{603D7251-1AD4-4A03-95E0-91D7789DB29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62474"/>
            <a:ext cx="141061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5" name="TextBox 18">
            <a:extLst>
              <a:ext uri="{FF2B5EF4-FFF2-40B4-BE49-F238E27FC236}">
                <a16:creationId xmlns:a16="http://schemas.microsoft.com/office/drawing/2014/main" id="{726C61E6-7255-437B-8AE7-8B6AF076B37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602497" y="4034219"/>
            <a:ext cx="67421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0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7" name="Espace réservé du texte 15">
            <a:extLst>
              <a:ext uri="{FF2B5EF4-FFF2-40B4-BE49-F238E27FC236}">
                <a16:creationId xmlns:a16="http://schemas.microsoft.com/office/drawing/2014/main" id="{CBFD68F7-E63B-480A-BBA8-5774C4DB7CD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502667" y="4009402"/>
            <a:ext cx="1225510" cy="20157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18" name="Espace réservé du texte 15">
            <a:extLst>
              <a:ext uri="{FF2B5EF4-FFF2-40B4-BE49-F238E27FC236}">
                <a16:creationId xmlns:a16="http://schemas.microsoft.com/office/drawing/2014/main" id="{92111894-0CBD-4F6E-BA7C-6D0055C20CC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401840" y="4650623"/>
            <a:ext cx="1832721" cy="179430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</p:spTree>
    <p:extLst>
      <p:ext uri="{BB962C8B-B14F-4D97-AF65-F5344CB8AC3E}">
        <p14:creationId xmlns:p14="http://schemas.microsoft.com/office/powerpoint/2010/main" val="12500492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t R&amp;D_12 mois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76" name="Image 75">
            <a:extLst>
              <a:ext uri="{FF2B5EF4-FFF2-40B4-BE49-F238E27FC236}">
                <a16:creationId xmlns:a16="http://schemas.microsoft.com/office/drawing/2014/main" id="{91BABA86-C640-4D71-83BB-23C6ADB3BC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652419"/>
            <a:ext cx="11790371" cy="550803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Rectangle 66">
            <a:extLst>
              <a:ext uri="{FF2B5EF4-FFF2-40B4-BE49-F238E27FC236}">
                <a16:creationId xmlns:a16="http://schemas.microsoft.com/office/drawing/2014/main" id="{2EC1752B-D63F-41C7-9811-6F4BECBBE969}"/>
              </a:ext>
            </a:extLst>
          </p:cNvPr>
          <p:cNvSpPr/>
          <p:nvPr userDrawn="1"/>
        </p:nvSpPr>
        <p:spPr>
          <a:xfrm>
            <a:off x="391871" y="2922745"/>
            <a:ext cx="1414174" cy="338555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DFC7A44-CA92-4CB6-A586-D77A48DAE3E3}" type="datetime1">
              <a:rPr lang="en-GB" smtClean="0"/>
              <a:t>14/02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42230" y="1180488"/>
            <a:ext cx="3870096" cy="1329708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8159" y="1078935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DE437AB-710C-417E-B109-46B4BA0C42EA}"/>
              </a:ext>
            </a:extLst>
          </p:cNvPr>
          <p:cNvSpPr/>
          <p:nvPr userDrawn="1"/>
        </p:nvSpPr>
        <p:spPr>
          <a:xfrm>
            <a:off x="386854" y="4944408"/>
            <a:ext cx="4431057" cy="1584000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B512A307-695B-466D-9DBB-CF8131EFC51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0984" y="4841699"/>
            <a:ext cx="1217527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ctions réalisé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3653FE9-95B0-4C7B-AB5D-214B6ABABF46}"/>
              </a:ext>
            </a:extLst>
          </p:cNvPr>
          <p:cNvSpPr/>
          <p:nvPr userDrawn="1"/>
        </p:nvSpPr>
        <p:spPr>
          <a:xfrm>
            <a:off x="4991099" y="4949793"/>
            <a:ext cx="4316927" cy="1583999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0" name="TextBox 18">
            <a:extLst>
              <a:ext uri="{FF2B5EF4-FFF2-40B4-BE49-F238E27FC236}">
                <a16:creationId xmlns:a16="http://schemas.microsoft.com/office/drawing/2014/main" id="{63E34428-F4EC-4E65-97BF-10DCBE2F0A0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94177" y="4840610"/>
            <a:ext cx="1080000" cy="17232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ctions à veni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481214" y="4949793"/>
            <a:ext cx="2268913" cy="1583999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9489090" y="3478136"/>
            <a:ext cx="2259950" cy="1099508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178196"/>
            <a:ext cx="3420000" cy="1332000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386855" y="3478136"/>
            <a:ext cx="2164823" cy="1102679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211" y="337248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1" name="Espace réservé du graphique 2">
            <a:extLst>
              <a:ext uri="{FF2B5EF4-FFF2-40B4-BE49-F238E27FC236}">
                <a16:creationId xmlns:a16="http://schemas.microsoft.com/office/drawing/2014/main" id="{C59067FF-317F-4C5D-A728-430DF12847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 bwMode="gray">
          <a:xfrm>
            <a:off x="9545859" y="3540789"/>
            <a:ext cx="2127361" cy="981028"/>
          </a:xfrm>
        </p:spPr>
        <p:txBody>
          <a:bodyPr tIns="720000" bIns="0" anchor="ctr" anchorCtr="0"/>
          <a:lstStyle>
            <a:lvl1pPr algn="ctr">
              <a:defRPr lang="fr-FR" sz="1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76489" y="3359840"/>
            <a:ext cx="147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global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07983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188" y="3583868"/>
            <a:ext cx="2016000" cy="972000"/>
          </a:xfrm>
        </p:spPr>
        <p:txBody>
          <a:bodyPr/>
          <a:lstStyle>
            <a:lvl1pPr marL="108000" indent="-108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0" name="Espace réservé du texte 59">
            <a:extLst>
              <a:ext uri="{FF2B5EF4-FFF2-40B4-BE49-F238E27FC236}">
                <a16:creationId xmlns:a16="http://schemas.microsoft.com/office/drawing/2014/main" id="{81539ED3-4003-4DD3-A7CA-DEC4E862A10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0910" y="5088866"/>
            <a:ext cx="4320000" cy="1404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2" name="Espace réservé du texte 61">
            <a:extLst>
              <a:ext uri="{FF2B5EF4-FFF2-40B4-BE49-F238E27FC236}">
                <a16:creationId xmlns:a16="http://schemas.microsoft.com/office/drawing/2014/main" id="{6BBA1526-94EA-4F06-8A43-4FA8F52C620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63099" y="5105931"/>
            <a:ext cx="4212000" cy="1368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66964" y="5105931"/>
            <a:ext cx="2131324" cy="136842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E4C9D361-8ECF-427C-9517-2091C29C0BEB}"/>
              </a:ext>
            </a:extLst>
          </p:cNvPr>
          <p:cNvSpPr txBox="1"/>
          <p:nvPr userDrawn="1"/>
        </p:nvSpPr>
        <p:spPr>
          <a:xfrm>
            <a:off x="7341329" y="4598332"/>
            <a:ext cx="2029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Légende :           Instance de pilotage           Livrable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2"/>
            <a:ext cx="920364" cy="690517"/>
          </a:xfrm>
          <a:prstGeom prst="rect">
            <a:avLst/>
          </a:prstGeom>
        </p:spPr>
      </p:pic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853" y="2809079"/>
            <a:ext cx="111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2682311" y="2915477"/>
            <a:ext cx="6625715" cy="1662167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788933" y="280219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4350" y="4841699"/>
            <a:ext cx="1260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940099" y="1193312"/>
            <a:ext cx="1367928" cy="1316884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33139" y="1313035"/>
            <a:ext cx="1224000" cy="113273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043214" y="1081926"/>
            <a:ext cx="1044000" cy="1800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27624" y="1302520"/>
            <a:ext cx="3736070" cy="116435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71484" y="128070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 Sponsor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71213" y="1497430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0" name="Rounded Rectangle 4">
            <a:extLst>
              <a:ext uri="{FF2B5EF4-FFF2-40B4-BE49-F238E27FC236}">
                <a16:creationId xmlns:a16="http://schemas.microsoft.com/office/drawing/2014/main" id="{E7E5A8BF-86AF-4ACE-A68D-704C8AA96626}"/>
              </a:ext>
            </a:extLst>
          </p:cNvPr>
          <p:cNvSpPr/>
          <p:nvPr userDrawn="1"/>
        </p:nvSpPr>
        <p:spPr>
          <a:xfrm>
            <a:off x="470167" y="1717737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Contributeur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7098" y="127890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149629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1711305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  <a:p>
            <a:pPr lvl="0"/>
            <a:r>
              <a:rPr lang="fr-FR"/>
              <a:t>Prénom Nom (entité)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5939" y="2071375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94" name="Rounded Rectangle 4">
            <a:extLst>
              <a:ext uri="{FF2B5EF4-FFF2-40B4-BE49-F238E27FC236}">
                <a16:creationId xmlns:a16="http://schemas.microsoft.com/office/drawing/2014/main" id="{8DA1EF33-7A45-4828-95C3-7896E1A10858}"/>
              </a:ext>
            </a:extLst>
          </p:cNvPr>
          <p:cNvSpPr/>
          <p:nvPr userDrawn="1"/>
        </p:nvSpPr>
        <p:spPr>
          <a:xfrm>
            <a:off x="464455" y="2290022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restatair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95" name="Espace réservé du texte 5">
            <a:extLst>
              <a:ext uri="{FF2B5EF4-FFF2-40B4-BE49-F238E27FC236}">
                <a16:creationId xmlns:a16="http://schemas.microsoft.com/office/drawing/2014/main" id="{D485EBEA-ACD2-4E47-9885-8E3E985D4F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27098" y="2069483"/>
            <a:ext cx="2232000" cy="180000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96" name="Espace réservé du texte 46">
            <a:extLst>
              <a:ext uri="{FF2B5EF4-FFF2-40B4-BE49-F238E27FC236}">
                <a16:creationId xmlns:a16="http://schemas.microsoft.com/office/drawing/2014/main" id="{50BB9F76-7CFD-4FF0-B3A7-DA8F719488A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5511" y="2286872"/>
            <a:ext cx="2232000" cy="180000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3254" y="3004277"/>
            <a:ext cx="1296000" cy="216000"/>
          </a:xfrm>
        </p:spPr>
        <p:txBody>
          <a:bodyPr anchor="ctr"/>
          <a:lstStyle>
            <a:lvl1pPr algn="ctr"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Mois Année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9B1B9DD-4EFF-4B64-8DE7-A69C00FB1345}"/>
              </a:ext>
            </a:extLst>
          </p:cNvPr>
          <p:cNvSpPr/>
          <p:nvPr userDrawn="1"/>
        </p:nvSpPr>
        <p:spPr>
          <a:xfrm>
            <a:off x="9484433" y="1190367"/>
            <a:ext cx="2278999" cy="1316884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TextBox 18">
            <a:extLst>
              <a:ext uri="{FF2B5EF4-FFF2-40B4-BE49-F238E27FC236}">
                <a16:creationId xmlns:a16="http://schemas.microsoft.com/office/drawing/2014/main" id="{44D3CA34-E9CB-495B-A348-ADE6F47FFC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76489" y="1078981"/>
            <a:ext cx="1548000" cy="2160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9484432" y="2913191"/>
            <a:ext cx="2264607" cy="338555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536113" y="2987675"/>
            <a:ext cx="2162175" cy="217488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pic>
        <p:nvPicPr>
          <p:cNvPr id="119" name="Image 118">
            <a:extLst>
              <a:ext uri="{FF2B5EF4-FFF2-40B4-BE49-F238E27FC236}">
                <a16:creationId xmlns:a16="http://schemas.microsoft.com/office/drawing/2014/main" id="{A75097C1-85D1-4DFE-BD55-9DC00D5E90C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856127" y="2933829"/>
            <a:ext cx="790195" cy="376170"/>
          </a:xfrm>
          <a:prstGeom prst="rect">
            <a:avLst/>
          </a:prstGeom>
        </p:spPr>
      </p:pic>
      <p:sp>
        <p:nvSpPr>
          <p:cNvPr id="5" name="Espace réservé du graphique 4">
            <a:extLst>
              <a:ext uri="{FF2B5EF4-FFF2-40B4-BE49-F238E27FC236}">
                <a16:creationId xmlns:a16="http://schemas.microsoft.com/office/drawing/2014/main" id="{875562A4-0DCB-46F0-99EA-4287F40448E7}"/>
              </a:ext>
            </a:extLst>
          </p:cNvPr>
          <p:cNvSpPr>
            <a:spLocks noGrp="1"/>
          </p:cNvSpPr>
          <p:nvPr>
            <p:ph type="chart" sz="quarter" idx="45"/>
          </p:nvPr>
        </p:nvSpPr>
        <p:spPr>
          <a:xfrm>
            <a:off x="9564688" y="1294981"/>
            <a:ext cx="2133600" cy="1171994"/>
          </a:xfrm>
        </p:spPr>
        <p:txBody>
          <a:bodyPr anchor="t"/>
          <a:lstStyle>
            <a:lvl1pPr>
              <a:defRPr lang="fr-FR" sz="1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</a:lstStyle>
          <a:p>
            <a:endParaRPr lang="fr-FR"/>
          </a:p>
        </p:txBody>
      </p:sp>
      <p:sp>
        <p:nvSpPr>
          <p:cNvPr id="77" name="Espace réservé du titre 1">
            <a:extLst>
              <a:ext uri="{FF2B5EF4-FFF2-40B4-BE49-F238E27FC236}">
                <a16:creationId xmlns:a16="http://schemas.microsoft.com/office/drawing/2014/main" id="{A8DDD817-2296-408C-974A-05CFD57B85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320227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Nom du projet R&amp;D / 12 mois prédéfinis</a:t>
            </a:r>
          </a:p>
        </p:txBody>
      </p:sp>
      <p:sp>
        <p:nvSpPr>
          <p:cNvPr id="78" name="Rounded Rectangle 4">
            <a:extLst>
              <a:ext uri="{FF2B5EF4-FFF2-40B4-BE49-F238E27FC236}">
                <a16:creationId xmlns:a16="http://schemas.microsoft.com/office/drawing/2014/main" id="{7D73B13C-1574-4358-A30E-6D9A627A3D9F}"/>
              </a:ext>
            </a:extLst>
          </p:cNvPr>
          <p:cNvSpPr/>
          <p:nvPr userDrawn="1"/>
        </p:nvSpPr>
        <p:spPr>
          <a:xfrm>
            <a:off x="10891528" y="1068918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82" name="Espace réservé du texte 4">
            <a:extLst>
              <a:ext uri="{FF2B5EF4-FFF2-40B4-BE49-F238E27FC236}">
                <a16:creationId xmlns:a16="http://schemas.microsoft.com/office/drawing/2014/main" id="{64CE197F-7E49-4C54-8642-F27C55D0CD4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0675178" y="105473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graphicFrame>
        <p:nvGraphicFramePr>
          <p:cNvPr id="66" name="Tableau 65">
            <a:extLst>
              <a:ext uri="{FF2B5EF4-FFF2-40B4-BE49-F238E27FC236}">
                <a16:creationId xmlns:a16="http://schemas.microsoft.com/office/drawing/2014/main" id="{B05C9AA8-EA2E-42E7-97CB-75E2BBBE187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006152402"/>
              </p:ext>
            </p:extLst>
          </p:nvPr>
        </p:nvGraphicFramePr>
        <p:xfrm>
          <a:off x="2810460" y="3043609"/>
          <a:ext cx="6408000" cy="1417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4000">
                  <a:extLst>
                    <a:ext uri="{9D8B030D-6E8A-4147-A177-3AD203B41FA5}">
                      <a16:colId xmlns:a16="http://schemas.microsoft.com/office/drawing/2014/main" val="2963105599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497014378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488208531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3138264816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2208006116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1542761581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2137355929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2836511899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3375252737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3517766284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3286274633"/>
                    </a:ext>
                  </a:extLst>
                </a:gridCol>
                <a:gridCol w="534000">
                  <a:extLst>
                    <a:ext uri="{9D8B030D-6E8A-4147-A177-3AD203B41FA5}">
                      <a16:colId xmlns:a16="http://schemas.microsoft.com/office/drawing/2014/main" val="3296758569"/>
                    </a:ext>
                  </a:extLst>
                </a:gridCol>
              </a:tblGrid>
              <a:tr h="295488"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janv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fév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 u="none"/>
                        <a:t>mars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avril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mai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juin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juill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août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sept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oct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nov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000"/>
                        <a:t>déc</a:t>
                      </a:r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0680979"/>
                  </a:ext>
                </a:extLst>
              </a:tr>
              <a:tr h="1121632"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5257852"/>
                  </a:ext>
                </a:extLst>
              </a:tr>
            </a:tbl>
          </a:graphicData>
        </a:graphic>
      </p:graphicFrame>
      <p:sp>
        <p:nvSpPr>
          <p:cNvPr id="70" name="TextBox 18">
            <a:extLst>
              <a:ext uri="{FF2B5EF4-FFF2-40B4-BE49-F238E27FC236}">
                <a16:creationId xmlns:a16="http://schemas.microsoft.com/office/drawing/2014/main" id="{00140BCD-DD38-4F20-A480-1FA2381340A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64382" y="2799526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 / Gain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7143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t HORS R&amp;D_24 mois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66">
            <a:extLst>
              <a:ext uri="{FF2B5EF4-FFF2-40B4-BE49-F238E27FC236}">
                <a16:creationId xmlns:a16="http://schemas.microsoft.com/office/drawing/2014/main" id="{2EC1752B-D63F-41C7-9811-6F4BECBBE969}"/>
              </a:ext>
            </a:extLst>
          </p:cNvPr>
          <p:cNvSpPr/>
          <p:nvPr userDrawn="1"/>
        </p:nvSpPr>
        <p:spPr>
          <a:xfrm>
            <a:off x="391871" y="2922745"/>
            <a:ext cx="1414174" cy="338555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43" name="Image 42">
            <a:extLst>
              <a:ext uri="{FF2B5EF4-FFF2-40B4-BE49-F238E27FC236}">
                <a16:creationId xmlns:a16="http://schemas.microsoft.com/office/drawing/2014/main" id="{56DF52EF-2ED6-4D46-BC68-3C045439738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652419"/>
            <a:ext cx="11790371" cy="55080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D1ECF3C-A52E-4848-8365-BB8A5F7436B7}" type="datetime1">
              <a:rPr lang="en-GB" smtClean="0"/>
              <a:t>14/02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4228933" y="1180487"/>
            <a:ext cx="5079092" cy="1173246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14384" y="1078935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9484432" y="2915477"/>
            <a:ext cx="2264607" cy="1662167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69" y="1178196"/>
            <a:ext cx="3646289" cy="1332000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386855" y="3478136"/>
            <a:ext cx="2164823" cy="1102679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92211" y="337248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1" name="Espace réservé du graphique 2">
            <a:extLst>
              <a:ext uri="{FF2B5EF4-FFF2-40B4-BE49-F238E27FC236}">
                <a16:creationId xmlns:a16="http://schemas.microsoft.com/office/drawing/2014/main" id="{C59067FF-317F-4C5D-A728-430DF12847CB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 bwMode="gray">
          <a:xfrm>
            <a:off x="9564909" y="3060183"/>
            <a:ext cx="2127361" cy="1461634"/>
          </a:xfrm>
        </p:spPr>
        <p:txBody>
          <a:bodyPr tIns="720000" bIns="0" anchor="ctr" anchorCtr="0"/>
          <a:lstStyle>
            <a:lvl1pPr algn="ctr">
              <a:defRPr lang="fr-FR" sz="1000" kern="1200" dirty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44" name="Espace réservé du titre 1">
            <a:extLst>
              <a:ext uri="{FF2B5EF4-FFF2-40B4-BE49-F238E27FC236}">
                <a16:creationId xmlns:a16="http://schemas.microsoft.com/office/drawing/2014/main" id="{5B7C7571-63EE-4049-B2FA-BD830E4E7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320227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Nom du projet HORS R&amp;D / 24 mois</a:t>
            </a: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76489" y="2816915"/>
            <a:ext cx="147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global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07983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72188" y="3583868"/>
            <a:ext cx="2016000" cy="972000"/>
          </a:xfrm>
        </p:spPr>
        <p:txBody>
          <a:bodyPr/>
          <a:lstStyle>
            <a:lvl1pPr marL="108000" indent="-108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3" name="ZoneTexte 62">
            <a:extLst>
              <a:ext uri="{FF2B5EF4-FFF2-40B4-BE49-F238E27FC236}">
                <a16:creationId xmlns:a16="http://schemas.microsoft.com/office/drawing/2014/main" id="{E4C9D361-8ECF-427C-9517-2091C29C0BEB}"/>
              </a:ext>
            </a:extLst>
          </p:cNvPr>
          <p:cNvSpPr txBox="1"/>
          <p:nvPr userDrawn="1"/>
        </p:nvSpPr>
        <p:spPr>
          <a:xfrm>
            <a:off x="7341329" y="4598332"/>
            <a:ext cx="2029618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>
                <a:solidFill>
                  <a:schemeClr val="tx1"/>
                </a:solidFill>
                <a:latin typeface="Calibri" panose="020F0502020204030204" pitchFamily="34" charset="0"/>
              </a:rPr>
              <a:t>Légende :           Instance de pilotage           Livrable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2"/>
            <a:ext cx="920364" cy="690517"/>
          </a:xfrm>
          <a:prstGeom prst="rect">
            <a:avLst/>
          </a:prstGeom>
        </p:spPr>
      </p:pic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853" y="2809079"/>
            <a:ext cx="111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2702910" y="2915477"/>
            <a:ext cx="6605116" cy="1662167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2788933" y="280219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614589" y="1302850"/>
            <a:ext cx="2077681" cy="878375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81544" y="1303799"/>
            <a:ext cx="4896000" cy="900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71484" y="128070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 Sponsor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71213" y="1497430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0" name="Rounded Rectangle 4">
            <a:extLst>
              <a:ext uri="{FF2B5EF4-FFF2-40B4-BE49-F238E27FC236}">
                <a16:creationId xmlns:a16="http://schemas.microsoft.com/office/drawing/2014/main" id="{E7E5A8BF-86AF-4ACE-A68D-704C8AA96626}"/>
              </a:ext>
            </a:extLst>
          </p:cNvPr>
          <p:cNvSpPr/>
          <p:nvPr userDrawn="1"/>
        </p:nvSpPr>
        <p:spPr>
          <a:xfrm>
            <a:off x="470167" y="1717737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Contributeur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7098" y="1278908"/>
            <a:ext cx="2448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1496297"/>
            <a:ext cx="2448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1711305"/>
            <a:ext cx="2448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  <a:p>
            <a:pPr lvl="0"/>
            <a:r>
              <a:rPr lang="fr-FR"/>
              <a:t>Prénom Nom (entité)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5939" y="2071375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94" name="Rounded Rectangle 4">
            <a:extLst>
              <a:ext uri="{FF2B5EF4-FFF2-40B4-BE49-F238E27FC236}">
                <a16:creationId xmlns:a16="http://schemas.microsoft.com/office/drawing/2014/main" id="{8DA1EF33-7A45-4828-95C3-7896E1A10858}"/>
              </a:ext>
            </a:extLst>
          </p:cNvPr>
          <p:cNvSpPr/>
          <p:nvPr userDrawn="1"/>
        </p:nvSpPr>
        <p:spPr>
          <a:xfrm>
            <a:off x="464455" y="2290022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restatair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95" name="Espace réservé du texte 5">
            <a:extLst>
              <a:ext uri="{FF2B5EF4-FFF2-40B4-BE49-F238E27FC236}">
                <a16:creationId xmlns:a16="http://schemas.microsoft.com/office/drawing/2014/main" id="{D485EBEA-ACD2-4E47-9885-8E3E985D4FB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27098" y="2069483"/>
            <a:ext cx="2448000" cy="180000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96" name="Espace réservé du texte 46">
            <a:extLst>
              <a:ext uri="{FF2B5EF4-FFF2-40B4-BE49-F238E27FC236}">
                <a16:creationId xmlns:a16="http://schemas.microsoft.com/office/drawing/2014/main" id="{50BB9F76-7CFD-4FF0-B3A7-DA8F719488A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5511" y="2286872"/>
            <a:ext cx="2448000" cy="180000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XX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53254" y="3004277"/>
            <a:ext cx="1296000" cy="216000"/>
          </a:xfrm>
        </p:spPr>
        <p:txBody>
          <a:bodyPr anchor="ctr"/>
          <a:lstStyle>
            <a:lvl1pPr algn="ctr"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Mois Année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9B1B9DD-4EFF-4B64-8DE7-A69C00FB1345}"/>
              </a:ext>
            </a:extLst>
          </p:cNvPr>
          <p:cNvSpPr/>
          <p:nvPr userDrawn="1"/>
        </p:nvSpPr>
        <p:spPr>
          <a:xfrm>
            <a:off x="9484433" y="1190366"/>
            <a:ext cx="2278999" cy="1163367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TextBox 18">
            <a:extLst>
              <a:ext uri="{FF2B5EF4-FFF2-40B4-BE49-F238E27FC236}">
                <a16:creationId xmlns:a16="http://schemas.microsoft.com/office/drawing/2014/main" id="{44D3CA34-E9CB-495B-A348-ADE6F47FFC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76489" y="1078981"/>
            <a:ext cx="136792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graphicFrame>
        <p:nvGraphicFramePr>
          <p:cNvPr id="103" name="Tableau 102">
            <a:extLst>
              <a:ext uri="{FF2B5EF4-FFF2-40B4-BE49-F238E27FC236}">
                <a16:creationId xmlns:a16="http://schemas.microsoft.com/office/drawing/2014/main" id="{B8733E29-45BA-4C0F-BFD2-CCA315F152E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670119259"/>
              </p:ext>
            </p:extLst>
          </p:nvPr>
        </p:nvGraphicFramePr>
        <p:xfrm>
          <a:off x="2798100" y="3043495"/>
          <a:ext cx="6408000" cy="14024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01000">
                  <a:extLst>
                    <a:ext uri="{9D8B030D-6E8A-4147-A177-3AD203B41FA5}">
                      <a16:colId xmlns:a16="http://schemas.microsoft.com/office/drawing/2014/main" val="3210430152"/>
                    </a:ext>
                  </a:extLst>
                </a:gridCol>
                <a:gridCol w="801000">
                  <a:extLst>
                    <a:ext uri="{9D8B030D-6E8A-4147-A177-3AD203B41FA5}">
                      <a16:colId xmlns:a16="http://schemas.microsoft.com/office/drawing/2014/main" val="1145274007"/>
                    </a:ext>
                  </a:extLst>
                </a:gridCol>
                <a:gridCol w="801000">
                  <a:extLst>
                    <a:ext uri="{9D8B030D-6E8A-4147-A177-3AD203B41FA5}">
                      <a16:colId xmlns:a16="http://schemas.microsoft.com/office/drawing/2014/main" val="1007867950"/>
                    </a:ext>
                  </a:extLst>
                </a:gridCol>
                <a:gridCol w="801000">
                  <a:extLst>
                    <a:ext uri="{9D8B030D-6E8A-4147-A177-3AD203B41FA5}">
                      <a16:colId xmlns:a16="http://schemas.microsoft.com/office/drawing/2014/main" val="2340845298"/>
                    </a:ext>
                  </a:extLst>
                </a:gridCol>
                <a:gridCol w="801000">
                  <a:extLst>
                    <a:ext uri="{9D8B030D-6E8A-4147-A177-3AD203B41FA5}">
                      <a16:colId xmlns:a16="http://schemas.microsoft.com/office/drawing/2014/main" val="768134275"/>
                    </a:ext>
                  </a:extLst>
                </a:gridCol>
                <a:gridCol w="801000">
                  <a:extLst>
                    <a:ext uri="{9D8B030D-6E8A-4147-A177-3AD203B41FA5}">
                      <a16:colId xmlns:a16="http://schemas.microsoft.com/office/drawing/2014/main" val="2650674513"/>
                    </a:ext>
                  </a:extLst>
                </a:gridCol>
                <a:gridCol w="801000">
                  <a:extLst>
                    <a:ext uri="{9D8B030D-6E8A-4147-A177-3AD203B41FA5}">
                      <a16:colId xmlns:a16="http://schemas.microsoft.com/office/drawing/2014/main" val="2630745404"/>
                    </a:ext>
                  </a:extLst>
                </a:gridCol>
                <a:gridCol w="801000">
                  <a:extLst>
                    <a:ext uri="{9D8B030D-6E8A-4147-A177-3AD203B41FA5}">
                      <a16:colId xmlns:a16="http://schemas.microsoft.com/office/drawing/2014/main" val="4034614990"/>
                    </a:ext>
                  </a:extLst>
                </a:gridCol>
              </a:tblGrid>
              <a:tr h="279589"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1000"/>
                    </a:p>
                  </a:txBody>
                  <a:tcPr anchor="ctr">
                    <a:solidFill>
                      <a:schemeClr val="accent1"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200279"/>
                  </a:ext>
                </a:extLst>
              </a:tr>
              <a:tr h="1122839"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fr-FR" sz="100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6500540"/>
                  </a:ext>
                </a:extLst>
              </a:tr>
            </a:tbl>
          </a:graphicData>
        </a:graphic>
      </p:graphicFrame>
      <p:sp>
        <p:nvSpPr>
          <p:cNvPr id="104" name="Espace réservé du texte 4">
            <a:extLst>
              <a:ext uri="{FF2B5EF4-FFF2-40B4-BE49-F238E27FC236}">
                <a16:creationId xmlns:a16="http://schemas.microsoft.com/office/drawing/2014/main" id="{A6DAB1E8-6CB0-4E5B-84B2-15982B8F488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2805824" y="3048827"/>
            <a:ext cx="774000" cy="244800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05" name="Espace réservé du texte 4">
            <a:extLst>
              <a:ext uri="{FF2B5EF4-FFF2-40B4-BE49-F238E27FC236}">
                <a16:creationId xmlns:a16="http://schemas.microsoft.com/office/drawing/2014/main" id="{A29F66DA-A583-4DFC-882F-090F5CD392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607546" y="3050319"/>
            <a:ext cx="774000" cy="244800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06" name="Espace réservé du texte 4">
            <a:extLst>
              <a:ext uri="{FF2B5EF4-FFF2-40B4-BE49-F238E27FC236}">
                <a16:creationId xmlns:a16="http://schemas.microsoft.com/office/drawing/2014/main" id="{8BB03D18-CD7A-4DE2-AC9E-D30071838AA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412783" y="3047361"/>
            <a:ext cx="774000" cy="244800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07" name="Espace réservé du texte 4">
            <a:extLst>
              <a:ext uri="{FF2B5EF4-FFF2-40B4-BE49-F238E27FC236}">
                <a16:creationId xmlns:a16="http://schemas.microsoft.com/office/drawing/2014/main" id="{651E6E28-5CC4-489E-927B-906C9651539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5210870" y="3051570"/>
            <a:ext cx="774000" cy="244800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08" name="Espace réservé du texte 4">
            <a:extLst>
              <a:ext uri="{FF2B5EF4-FFF2-40B4-BE49-F238E27FC236}">
                <a16:creationId xmlns:a16="http://schemas.microsoft.com/office/drawing/2014/main" id="{B28A81A9-6930-4884-B29C-38BA991BA96B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012048" y="3050319"/>
            <a:ext cx="774000" cy="244800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09" name="Espace réservé du texte 4">
            <a:extLst>
              <a:ext uri="{FF2B5EF4-FFF2-40B4-BE49-F238E27FC236}">
                <a16:creationId xmlns:a16="http://schemas.microsoft.com/office/drawing/2014/main" id="{EBDF9B68-74F8-451E-A540-3A4CA0C33DE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11406" y="3053360"/>
            <a:ext cx="774000" cy="244800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10" name="Espace réservé du texte 4">
            <a:extLst>
              <a:ext uri="{FF2B5EF4-FFF2-40B4-BE49-F238E27FC236}">
                <a16:creationId xmlns:a16="http://schemas.microsoft.com/office/drawing/2014/main" id="{67FBDB31-8891-4519-9A3F-E75BBE54ACA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621396" y="3050319"/>
            <a:ext cx="774000" cy="244800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sp>
        <p:nvSpPr>
          <p:cNvPr id="111" name="Espace réservé du texte 4">
            <a:extLst>
              <a:ext uri="{FF2B5EF4-FFF2-40B4-BE49-F238E27FC236}">
                <a16:creationId xmlns:a16="http://schemas.microsoft.com/office/drawing/2014/main" id="{133ADFFA-CC54-4716-A857-3D2A549D5B1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415438" y="3050319"/>
            <a:ext cx="774000" cy="244800"/>
          </a:xfrm>
        </p:spPr>
        <p:txBody>
          <a:bodyPr anchor="ctr"/>
          <a:lstStyle>
            <a:lvl1pPr algn="ctr">
              <a:defRPr lang="fr-FR" sz="10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trim/année</a:t>
            </a:r>
          </a:p>
        </p:txBody>
      </p:sp>
      <p:pic>
        <p:nvPicPr>
          <p:cNvPr id="66" name="Image 65">
            <a:extLst>
              <a:ext uri="{FF2B5EF4-FFF2-40B4-BE49-F238E27FC236}">
                <a16:creationId xmlns:a16="http://schemas.microsoft.com/office/drawing/2014/main" id="{2ECE5AAF-E598-4158-97BE-99112D199B4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856127" y="2933829"/>
            <a:ext cx="828000" cy="376170"/>
          </a:xfrm>
          <a:prstGeom prst="rect">
            <a:avLst/>
          </a:prstGeom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id="{14CEEB0C-9727-43C7-8812-0571EE368D5A}"/>
              </a:ext>
            </a:extLst>
          </p:cNvPr>
          <p:cNvSpPr/>
          <p:nvPr userDrawn="1"/>
        </p:nvSpPr>
        <p:spPr>
          <a:xfrm>
            <a:off x="386854" y="4944408"/>
            <a:ext cx="4431057" cy="1584000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9" name="TextBox 18">
            <a:extLst>
              <a:ext uri="{FF2B5EF4-FFF2-40B4-BE49-F238E27FC236}">
                <a16:creationId xmlns:a16="http://schemas.microsoft.com/office/drawing/2014/main" id="{15FEE3EC-55D0-4520-BA93-654A7A96B92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0984" y="4841699"/>
            <a:ext cx="1217527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ctions réalisé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436CCC6-B240-41CF-8AD0-E455C1CAF923}"/>
              </a:ext>
            </a:extLst>
          </p:cNvPr>
          <p:cNvSpPr/>
          <p:nvPr userDrawn="1"/>
        </p:nvSpPr>
        <p:spPr>
          <a:xfrm>
            <a:off x="4991099" y="4949793"/>
            <a:ext cx="4316926" cy="1583999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0" name="TextBox 18">
            <a:extLst>
              <a:ext uri="{FF2B5EF4-FFF2-40B4-BE49-F238E27FC236}">
                <a16:creationId xmlns:a16="http://schemas.microsoft.com/office/drawing/2014/main" id="{52818F16-491E-4C23-9979-B111B65F920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094177" y="4840610"/>
            <a:ext cx="1080000" cy="17232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ctions à veni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D488EA32-BF10-45FD-A301-436991A205F0}"/>
              </a:ext>
            </a:extLst>
          </p:cNvPr>
          <p:cNvSpPr/>
          <p:nvPr userDrawn="1"/>
        </p:nvSpPr>
        <p:spPr>
          <a:xfrm>
            <a:off x="9481214" y="4949793"/>
            <a:ext cx="2268914" cy="1583999"/>
          </a:xfrm>
          <a:prstGeom prst="rect">
            <a:avLst/>
          </a:prstGeom>
          <a:noFill/>
          <a:ln w="25400" cap="flat" cmpd="sng" algn="ctr">
            <a:solidFill>
              <a:srgbClr val="9796A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2" name="Espace réservé du texte 59">
            <a:extLst>
              <a:ext uri="{FF2B5EF4-FFF2-40B4-BE49-F238E27FC236}">
                <a16:creationId xmlns:a16="http://schemas.microsoft.com/office/drawing/2014/main" id="{7C2AB659-4B8D-459D-A3C3-BA87835CE93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0910" y="5088866"/>
            <a:ext cx="4320000" cy="1404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73" name="Espace réservé du texte 61">
            <a:extLst>
              <a:ext uri="{FF2B5EF4-FFF2-40B4-BE49-F238E27FC236}">
                <a16:creationId xmlns:a16="http://schemas.microsoft.com/office/drawing/2014/main" id="{5B9BC8C6-A9A0-48EF-9B66-058BDC02E68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63099" y="5105931"/>
            <a:ext cx="4212000" cy="1368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74" name="Espace réservé du texte 63">
            <a:extLst>
              <a:ext uri="{FF2B5EF4-FFF2-40B4-BE49-F238E27FC236}">
                <a16:creationId xmlns:a16="http://schemas.microsoft.com/office/drawing/2014/main" id="{C3DD8384-6CF2-44FB-AB0C-87BCA5FAAD0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566964" y="5105931"/>
            <a:ext cx="2131324" cy="1368425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75" name="TextBox 18">
            <a:extLst>
              <a:ext uri="{FF2B5EF4-FFF2-40B4-BE49-F238E27FC236}">
                <a16:creationId xmlns:a16="http://schemas.microsoft.com/office/drawing/2014/main" id="{6392E258-547E-4691-83F2-26759A869B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4350" y="4841699"/>
            <a:ext cx="1260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23365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itre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pour une image  13"/>
          <p:cNvSpPr>
            <a:spLocks noGrp="1"/>
          </p:cNvSpPr>
          <p:nvPr>
            <p:ph type="pic" sz="quarter" idx="17"/>
          </p:nvPr>
        </p:nvSpPr>
        <p:spPr bwMode="gray">
          <a:xfrm>
            <a:off x="2550573" y="2034001"/>
            <a:ext cx="9648000" cy="1998000"/>
          </a:xfrm>
          <a:custGeom>
            <a:avLst/>
            <a:gdLst>
              <a:gd name="connsiteX0" fmla="*/ 630000 w 7231070"/>
              <a:gd name="connsiteY0" fmla="*/ 0 h 1998000"/>
              <a:gd name="connsiteX1" fmla="*/ 899593 w 7231070"/>
              <a:gd name="connsiteY1" fmla="*/ 0 h 1998000"/>
              <a:gd name="connsiteX2" fmla="*/ 1260000 w 7231070"/>
              <a:gd name="connsiteY2" fmla="*/ 0 h 1998000"/>
              <a:gd name="connsiteX3" fmla="*/ 7230692 w 7231070"/>
              <a:gd name="connsiteY3" fmla="*/ 0 h 1998000"/>
              <a:gd name="connsiteX4" fmla="*/ 7230692 w 7231070"/>
              <a:gd name="connsiteY4" fmla="*/ 917880 h 1998000"/>
              <a:gd name="connsiteX5" fmla="*/ 7231070 w 7231070"/>
              <a:gd name="connsiteY5" fmla="*/ 917880 h 1998000"/>
              <a:gd name="connsiteX6" fmla="*/ 7231070 w 7231070"/>
              <a:gd name="connsiteY6" fmla="*/ 1998000 h 1998000"/>
              <a:gd name="connsiteX7" fmla="*/ 7230692 w 7231070"/>
              <a:gd name="connsiteY7" fmla="*/ 1998000 h 1998000"/>
              <a:gd name="connsiteX8" fmla="*/ 899593 w 7231070"/>
              <a:gd name="connsiteY8" fmla="*/ 1998000 h 1998000"/>
              <a:gd name="connsiteX9" fmla="*/ 1 w 7231070"/>
              <a:gd name="connsiteY9" fmla="*/ 1998000 h 1998000"/>
              <a:gd name="connsiteX10" fmla="*/ 1 w 7231070"/>
              <a:gd name="connsiteY10" fmla="*/ 1260000 h 1998000"/>
              <a:gd name="connsiteX11" fmla="*/ 0 w 7231070"/>
              <a:gd name="connsiteY11" fmla="*/ 1260000 h 1998000"/>
              <a:gd name="connsiteX12" fmla="*/ 0 w 7231070"/>
              <a:gd name="connsiteY12" fmla="*/ 630000 h 1998000"/>
              <a:gd name="connsiteX13" fmla="*/ 630000 w 7231070"/>
              <a:gd name="connsiteY13" fmla="*/ 0 h 19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7231070" h="1998000">
                <a:moveTo>
                  <a:pt x="630000" y="0"/>
                </a:moveTo>
                <a:lnTo>
                  <a:pt x="899593" y="0"/>
                </a:lnTo>
                <a:lnTo>
                  <a:pt x="1260000" y="0"/>
                </a:lnTo>
                <a:lnTo>
                  <a:pt x="7230692" y="0"/>
                </a:lnTo>
                <a:lnTo>
                  <a:pt x="7230692" y="917880"/>
                </a:lnTo>
                <a:lnTo>
                  <a:pt x="7231070" y="917880"/>
                </a:lnTo>
                <a:lnTo>
                  <a:pt x="7231070" y="1998000"/>
                </a:lnTo>
                <a:lnTo>
                  <a:pt x="7230692" y="1998000"/>
                </a:lnTo>
                <a:lnTo>
                  <a:pt x="899593" y="1998000"/>
                </a:lnTo>
                <a:lnTo>
                  <a:pt x="1" y="1998000"/>
                </a:lnTo>
                <a:lnTo>
                  <a:pt x="1" y="1260000"/>
                </a:lnTo>
                <a:lnTo>
                  <a:pt x="0" y="1260000"/>
                </a:lnTo>
                <a:lnTo>
                  <a:pt x="0" y="630000"/>
                </a:ln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</p:spPr>
        <p:txBody>
          <a:bodyPr wrap="square" tIns="1080000" anchor="ctr" anchorCtr="0">
            <a:noAutofit/>
          </a:bodyPr>
          <a:lstStyle>
            <a:lvl1pPr algn="ctr">
              <a:defRPr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03712" y="4257095"/>
            <a:ext cx="8256488" cy="18357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2"/>
                </a:solidFill>
                <a:latin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solidFill>
                  <a:schemeClr val="accent2"/>
                </a:solidFill>
              </a:defRPr>
            </a:lvl2pPr>
            <a:lvl3pPr marL="0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 sz="1200">
                <a:solidFill>
                  <a:schemeClr val="accent2"/>
                </a:solidFill>
                <a:latin typeface="+mn-lt"/>
              </a:defRPr>
            </a:lvl3pPr>
          </a:lstStyle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</p:txBody>
      </p:sp>
      <p:sp>
        <p:nvSpPr>
          <p:cNvPr id="11" name="Espace réservé de la date 1"/>
          <p:cNvSpPr>
            <a:spLocks noGrp="1"/>
          </p:cNvSpPr>
          <p:nvPr>
            <p:ph type="dt" sz="half" idx="14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C8AB885E-F7E7-4513-8584-18763E16DE50}" type="datetime1">
              <a:rPr lang="en-GB" smtClean="0"/>
              <a:t>14/02/2024</a:t>
            </a:fld>
            <a:endParaRPr lang="fr-FR"/>
          </a:p>
        </p:txBody>
      </p:sp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2"/>
            <a:ext cx="1257300" cy="943308"/>
          </a:xfrm>
          <a:prstGeom prst="rect">
            <a:avLst/>
          </a:prstGeom>
        </p:spPr>
      </p:pic>
      <p:sp>
        <p:nvSpPr>
          <p:cNvPr id="15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236407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ge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1980525" cy="120193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>
          <a:xfrm>
            <a:off x="11749316" y="6694714"/>
            <a:ext cx="429095" cy="152400"/>
          </a:xfrm>
        </p:spPr>
        <p:txBody>
          <a:bodyPr/>
          <a:lstStyle/>
          <a:p>
            <a:fld id="{270FF1D6-C773-4F11-AB79-19FB82DCF3A6}" type="datetime1">
              <a:rPr lang="en-GB" smtClean="0"/>
              <a:t>14/02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683828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191" name="Image 190">
            <a:extLst>
              <a:ext uri="{FF2B5EF4-FFF2-40B4-BE49-F238E27FC236}">
                <a16:creationId xmlns:a16="http://schemas.microsoft.com/office/drawing/2014/main" id="{CCFAFE76-B4F8-4C50-B201-67DECB05EB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2"/>
            <a:ext cx="920364" cy="690517"/>
          </a:xfrm>
          <a:prstGeom prst="rect">
            <a:avLst/>
          </a:prstGeom>
        </p:spPr>
      </p:pic>
      <p:pic>
        <p:nvPicPr>
          <p:cNvPr id="190" name="Image 189">
            <a:extLst>
              <a:ext uri="{FF2B5EF4-FFF2-40B4-BE49-F238E27FC236}">
                <a16:creationId xmlns:a16="http://schemas.microsoft.com/office/drawing/2014/main" id="{D71A0B8E-BEF7-4547-985E-067F6FDF80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4928" y="542348"/>
            <a:ext cx="11790371" cy="550803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Espace réservé du titre 1">
            <a:extLst>
              <a:ext uri="{FF2B5EF4-FFF2-40B4-BE49-F238E27FC236}">
                <a16:creationId xmlns:a16="http://schemas.microsoft.com/office/drawing/2014/main" id="{5B7C7571-63EE-4049-B2FA-BD830E4E7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98432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87" name="ZoneTexte 86">
            <a:extLst>
              <a:ext uri="{FF2B5EF4-FFF2-40B4-BE49-F238E27FC236}">
                <a16:creationId xmlns:a16="http://schemas.microsoft.com/office/drawing/2014/main" id="{9FFCDE53-E1A2-4CF0-B2A4-4BB57013FCBF}"/>
              </a:ext>
            </a:extLst>
          </p:cNvPr>
          <p:cNvSpPr txBox="1"/>
          <p:nvPr userDrawn="1"/>
        </p:nvSpPr>
        <p:spPr>
          <a:xfrm>
            <a:off x="2704" y="6387602"/>
            <a:ext cx="12189296" cy="4737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621463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endrier_Mensuel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oneTexte 2">
            <a:extLst>
              <a:ext uri="{FF2B5EF4-FFF2-40B4-BE49-F238E27FC236}">
                <a16:creationId xmlns:a16="http://schemas.microsoft.com/office/drawing/2014/main" id="{D1D68100-719E-44FF-98A6-984B7DE1872F}"/>
              </a:ext>
            </a:extLst>
          </p:cNvPr>
          <p:cNvSpPr txBox="1"/>
          <p:nvPr userDrawn="1"/>
        </p:nvSpPr>
        <p:spPr>
          <a:xfrm>
            <a:off x="0" y="6384220"/>
            <a:ext cx="12189297" cy="4737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1980525" cy="120193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1" name="Espace réservé de la date 10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1127A79-7601-45B0-97DD-31BFFF297F3E}" type="datetime1">
              <a:rPr lang="en-GB" smtClean="0"/>
              <a:t>14/02/2024</a:t>
            </a:fld>
            <a:endParaRPr lang="fr-FR"/>
          </a:p>
        </p:txBody>
      </p:sp>
      <p:sp>
        <p:nvSpPr>
          <p:cNvPr id="12" name="Espace réservé du numéro de diapositive 11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13B9FEC-AEF5-42C7-8045-A73A710FF4A9}"/>
              </a:ext>
            </a:extLst>
          </p:cNvPr>
          <p:cNvSpPr>
            <a:spLocks/>
          </p:cNvSpPr>
          <p:nvPr userDrawn="1"/>
        </p:nvSpPr>
        <p:spPr bwMode="auto">
          <a:xfrm>
            <a:off x="3863181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44F2D8A-3C55-43A3-9E93-70A292CE9C32}"/>
              </a:ext>
            </a:extLst>
          </p:cNvPr>
          <p:cNvSpPr>
            <a:spLocks/>
          </p:cNvSpPr>
          <p:nvPr userDrawn="1"/>
        </p:nvSpPr>
        <p:spPr bwMode="auto">
          <a:xfrm>
            <a:off x="1667053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A3A2AD2-9F94-4A2E-A542-C75064A4C7D6}"/>
              </a:ext>
            </a:extLst>
          </p:cNvPr>
          <p:cNvSpPr>
            <a:spLocks/>
          </p:cNvSpPr>
          <p:nvPr userDrawn="1"/>
        </p:nvSpPr>
        <p:spPr bwMode="auto">
          <a:xfrm>
            <a:off x="2286131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CEE758-E718-4CC4-BB26-8C48BC63BC5B}"/>
              </a:ext>
            </a:extLst>
          </p:cNvPr>
          <p:cNvSpPr>
            <a:spLocks/>
          </p:cNvSpPr>
          <p:nvPr userDrawn="1"/>
        </p:nvSpPr>
        <p:spPr bwMode="auto">
          <a:xfrm>
            <a:off x="1343298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09D0A18-5300-4B7A-83DE-01BF04C7FB5F}"/>
              </a:ext>
            </a:extLst>
          </p:cNvPr>
          <p:cNvSpPr>
            <a:spLocks/>
          </p:cNvSpPr>
          <p:nvPr userDrawn="1"/>
        </p:nvSpPr>
        <p:spPr bwMode="auto">
          <a:xfrm>
            <a:off x="1025625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4500807-CE7D-4062-90B0-FAAA69F612D2}"/>
              </a:ext>
            </a:extLst>
          </p:cNvPr>
          <p:cNvSpPr>
            <a:spLocks/>
          </p:cNvSpPr>
          <p:nvPr userDrawn="1"/>
        </p:nvSpPr>
        <p:spPr bwMode="auto">
          <a:xfrm>
            <a:off x="392634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2228AC8-ED8A-493D-978B-35FECEF24177}"/>
              </a:ext>
            </a:extLst>
          </p:cNvPr>
          <p:cNvSpPr>
            <a:spLocks/>
          </p:cNvSpPr>
          <p:nvPr userDrawn="1"/>
        </p:nvSpPr>
        <p:spPr bwMode="auto">
          <a:xfrm>
            <a:off x="710339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E57AB13-F954-423F-8BC9-02C275349C27}"/>
              </a:ext>
            </a:extLst>
          </p:cNvPr>
          <p:cNvSpPr>
            <a:spLocks/>
          </p:cNvSpPr>
          <p:nvPr userDrawn="1"/>
        </p:nvSpPr>
        <p:spPr bwMode="auto">
          <a:xfrm>
            <a:off x="1980525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CA771C6-7CE6-4176-ADA3-65184B1289FB}"/>
              </a:ext>
            </a:extLst>
          </p:cNvPr>
          <p:cNvSpPr>
            <a:spLocks/>
          </p:cNvSpPr>
          <p:nvPr userDrawn="1"/>
        </p:nvSpPr>
        <p:spPr bwMode="auto">
          <a:xfrm>
            <a:off x="2597190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EDA764-1A6C-4485-B3A7-260CBF47269A}"/>
              </a:ext>
            </a:extLst>
          </p:cNvPr>
          <p:cNvSpPr>
            <a:spLocks/>
          </p:cNvSpPr>
          <p:nvPr userDrawn="1"/>
        </p:nvSpPr>
        <p:spPr bwMode="auto">
          <a:xfrm>
            <a:off x="2913685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16698D6-7F89-4F59-AD75-4B21A57B8108}"/>
              </a:ext>
            </a:extLst>
          </p:cNvPr>
          <p:cNvSpPr>
            <a:spLocks/>
          </p:cNvSpPr>
          <p:nvPr userDrawn="1"/>
        </p:nvSpPr>
        <p:spPr bwMode="auto">
          <a:xfrm>
            <a:off x="3230185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5B2B454-796A-4720-8BA7-18939E0CF902}"/>
              </a:ext>
            </a:extLst>
          </p:cNvPr>
          <p:cNvSpPr>
            <a:spLocks/>
          </p:cNvSpPr>
          <p:nvPr userDrawn="1"/>
        </p:nvSpPr>
        <p:spPr bwMode="auto">
          <a:xfrm>
            <a:off x="3546682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17C6B5D-5FDA-4BBB-81D7-8CD118D8B0A4}"/>
              </a:ext>
            </a:extLst>
          </p:cNvPr>
          <p:cNvSpPr>
            <a:spLocks/>
          </p:cNvSpPr>
          <p:nvPr userDrawn="1"/>
        </p:nvSpPr>
        <p:spPr bwMode="auto">
          <a:xfrm>
            <a:off x="392602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anv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2AD9CA7-F4AC-4C07-9124-9B962C0A943E}"/>
              </a:ext>
            </a:extLst>
          </p:cNvPr>
          <p:cNvSpPr>
            <a:spLocks/>
          </p:cNvSpPr>
          <p:nvPr userDrawn="1"/>
        </p:nvSpPr>
        <p:spPr bwMode="auto">
          <a:xfrm>
            <a:off x="710307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fév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5F8FBB9-737E-457F-A8B4-6706CAECE1E8}"/>
              </a:ext>
            </a:extLst>
          </p:cNvPr>
          <p:cNvSpPr>
            <a:spLocks/>
          </p:cNvSpPr>
          <p:nvPr userDrawn="1"/>
        </p:nvSpPr>
        <p:spPr bwMode="auto">
          <a:xfrm>
            <a:off x="1025593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mar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334A968-7E6E-4246-8C08-22AF96066F8E}"/>
              </a:ext>
            </a:extLst>
          </p:cNvPr>
          <p:cNvSpPr>
            <a:spLocks/>
          </p:cNvSpPr>
          <p:nvPr userDrawn="1"/>
        </p:nvSpPr>
        <p:spPr bwMode="auto">
          <a:xfrm>
            <a:off x="1343298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avri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B5B757F-37EC-42BE-B82B-A2DCCB8013C4}"/>
              </a:ext>
            </a:extLst>
          </p:cNvPr>
          <p:cNvSpPr>
            <a:spLocks/>
          </p:cNvSpPr>
          <p:nvPr userDrawn="1"/>
        </p:nvSpPr>
        <p:spPr bwMode="auto">
          <a:xfrm>
            <a:off x="1667053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mai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B6D210E-35D2-4162-8D78-B1D82CBA134F}"/>
              </a:ext>
            </a:extLst>
          </p:cNvPr>
          <p:cNvSpPr>
            <a:spLocks/>
          </p:cNvSpPr>
          <p:nvPr userDrawn="1"/>
        </p:nvSpPr>
        <p:spPr bwMode="auto">
          <a:xfrm>
            <a:off x="1980525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ui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38DB5F-9DEB-480C-A33D-F4EFA2D93865}"/>
              </a:ext>
            </a:extLst>
          </p:cNvPr>
          <p:cNvSpPr>
            <a:spLocks/>
          </p:cNvSpPr>
          <p:nvPr userDrawn="1"/>
        </p:nvSpPr>
        <p:spPr bwMode="auto">
          <a:xfrm>
            <a:off x="2291585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uill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6558B0D4-E59E-474B-ABD9-0797F2A05543}"/>
              </a:ext>
            </a:extLst>
          </p:cNvPr>
          <p:cNvSpPr>
            <a:spLocks/>
          </p:cNvSpPr>
          <p:nvPr userDrawn="1"/>
        </p:nvSpPr>
        <p:spPr bwMode="auto">
          <a:xfrm>
            <a:off x="2597190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aoû</a:t>
            </a:r>
            <a:r>
              <a:rPr lang="en-US" sz="900" b="1">
                <a:solidFill>
                  <a:prstClr val="black"/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F5CE323-50F1-427B-9CE5-B09504032828}"/>
              </a:ext>
            </a:extLst>
          </p:cNvPr>
          <p:cNvSpPr>
            <a:spLocks/>
          </p:cNvSpPr>
          <p:nvPr userDrawn="1"/>
        </p:nvSpPr>
        <p:spPr bwMode="auto">
          <a:xfrm>
            <a:off x="2913685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sep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EB8672F-EC4A-44ED-8830-67CC1A44179A}"/>
              </a:ext>
            </a:extLst>
          </p:cNvPr>
          <p:cNvSpPr>
            <a:spLocks/>
          </p:cNvSpPr>
          <p:nvPr userDrawn="1"/>
        </p:nvSpPr>
        <p:spPr bwMode="auto">
          <a:xfrm>
            <a:off x="3863181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déc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5F74C90-289B-417A-8E8E-2FE201AFE4E7}"/>
              </a:ext>
            </a:extLst>
          </p:cNvPr>
          <p:cNvSpPr>
            <a:spLocks/>
          </p:cNvSpPr>
          <p:nvPr userDrawn="1"/>
        </p:nvSpPr>
        <p:spPr bwMode="auto">
          <a:xfrm>
            <a:off x="3230185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oc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F590D83-6FD3-4F60-8474-D929664C5C60}"/>
              </a:ext>
            </a:extLst>
          </p:cNvPr>
          <p:cNvSpPr>
            <a:spLocks/>
          </p:cNvSpPr>
          <p:nvPr userDrawn="1"/>
        </p:nvSpPr>
        <p:spPr bwMode="auto">
          <a:xfrm>
            <a:off x="3546682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nov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1ADD1C4F-6956-4A5D-9592-3327C75E7B0B}"/>
              </a:ext>
            </a:extLst>
          </p:cNvPr>
          <p:cNvSpPr>
            <a:spLocks/>
          </p:cNvSpPr>
          <p:nvPr userDrawn="1"/>
        </p:nvSpPr>
        <p:spPr bwMode="auto">
          <a:xfrm>
            <a:off x="7673198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5FA6BDF8-FBCC-4E34-9494-358B59933E96}"/>
              </a:ext>
            </a:extLst>
          </p:cNvPr>
          <p:cNvSpPr>
            <a:spLocks/>
          </p:cNvSpPr>
          <p:nvPr userDrawn="1"/>
        </p:nvSpPr>
        <p:spPr bwMode="auto">
          <a:xfrm>
            <a:off x="5477070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6F5FC529-CE85-4DAF-925C-CA17085998F3}"/>
              </a:ext>
            </a:extLst>
          </p:cNvPr>
          <p:cNvSpPr>
            <a:spLocks/>
          </p:cNvSpPr>
          <p:nvPr userDrawn="1"/>
        </p:nvSpPr>
        <p:spPr bwMode="auto">
          <a:xfrm>
            <a:off x="6096148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D5085085-39CB-4D34-BD9A-1723CCC2451F}"/>
              </a:ext>
            </a:extLst>
          </p:cNvPr>
          <p:cNvSpPr>
            <a:spLocks/>
          </p:cNvSpPr>
          <p:nvPr userDrawn="1"/>
        </p:nvSpPr>
        <p:spPr bwMode="auto">
          <a:xfrm>
            <a:off x="5153315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ACCF3693-71B1-47D0-94B7-C6E8542D3365}"/>
              </a:ext>
            </a:extLst>
          </p:cNvPr>
          <p:cNvSpPr>
            <a:spLocks/>
          </p:cNvSpPr>
          <p:nvPr userDrawn="1"/>
        </p:nvSpPr>
        <p:spPr bwMode="auto">
          <a:xfrm>
            <a:off x="4835642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B9D59D32-A37E-499F-9127-CF0B5FDE80A6}"/>
              </a:ext>
            </a:extLst>
          </p:cNvPr>
          <p:cNvSpPr>
            <a:spLocks/>
          </p:cNvSpPr>
          <p:nvPr userDrawn="1"/>
        </p:nvSpPr>
        <p:spPr bwMode="auto">
          <a:xfrm>
            <a:off x="4202651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66CD244C-6736-40D2-8212-67439C44224F}"/>
              </a:ext>
            </a:extLst>
          </p:cNvPr>
          <p:cNvSpPr>
            <a:spLocks/>
          </p:cNvSpPr>
          <p:nvPr userDrawn="1"/>
        </p:nvSpPr>
        <p:spPr bwMode="auto">
          <a:xfrm>
            <a:off x="4520356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15FEF664-ED6E-4C5D-A042-CD20E3A2DD92}"/>
              </a:ext>
            </a:extLst>
          </p:cNvPr>
          <p:cNvSpPr>
            <a:spLocks/>
          </p:cNvSpPr>
          <p:nvPr userDrawn="1"/>
        </p:nvSpPr>
        <p:spPr bwMode="auto">
          <a:xfrm>
            <a:off x="5790542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D2A9A6E9-9E1F-4F0C-B546-8A80B2BBC9BB}"/>
              </a:ext>
            </a:extLst>
          </p:cNvPr>
          <p:cNvSpPr>
            <a:spLocks/>
          </p:cNvSpPr>
          <p:nvPr userDrawn="1"/>
        </p:nvSpPr>
        <p:spPr bwMode="auto">
          <a:xfrm>
            <a:off x="6407207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D4A8248A-6149-47F3-B03E-DE877BE9899E}"/>
              </a:ext>
            </a:extLst>
          </p:cNvPr>
          <p:cNvSpPr>
            <a:spLocks/>
          </p:cNvSpPr>
          <p:nvPr userDrawn="1"/>
        </p:nvSpPr>
        <p:spPr bwMode="auto">
          <a:xfrm>
            <a:off x="6723702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ADF5EBFC-0F18-4A13-8F53-D99660623813}"/>
              </a:ext>
            </a:extLst>
          </p:cNvPr>
          <p:cNvSpPr>
            <a:spLocks/>
          </p:cNvSpPr>
          <p:nvPr userDrawn="1"/>
        </p:nvSpPr>
        <p:spPr bwMode="auto">
          <a:xfrm>
            <a:off x="7040202" y="1524222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FD595661-7F14-4F17-B1B5-692D91F487A1}"/>
              </a:ext>
            </a:extLst>
          </p:cNvPr>
          <p:cNvSpPr>
            <a:spLocks/>
          </p:cNvSpPr>
          <p:nvPr userDrawn="1"/>
        </p:nvSpPr>
        <p:spPr bwMode="auto">
          <a:xfrm>
            <a:off x="7356699" y="1527613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id="{C0029BFD-E542-48AA-A0D6-21F9BED3008A}"/>
              </a:ext>
            </a:extLst>
          </p:cNvPr>
          <p:cNvSpPr>
            <a:spLocks/>
          </p:cNvSpPr>
          <p:nvPr userDrawn="1"/>
        </p:nvSpPr>
        <p:spPr bwMode="auto">
          <a:xfrm>
            <a:off x="4202619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anv</a:t>
            </a: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19B8305A-80BF-44E5-810B-3C05B1AE3108}"/>
              </a:ext>
            </a:extLst>
          </p:cNvPr>
          <p:cNvSpPr>
            <a:spLocks/>
          </p:cNvSpPr>
          <p:nvPr userDrawn="1"/>
        </p:nvSpPr>
        <p:spPr bwMode="auto">
          <a:xfrm>
            <a:off x="4520324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fév</a:t>
            </a: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69167BF4-C5A8-4F02-B6C5-6DB9AB8B532B}"/>
              </a:ext>
            </a:extLst>
          </p:cNvPr>
          <p:cNvSpPr>
            <a:spLocks/>
          </p:cNvSpPr>
          <p:nvPr userDrawn="1"/>
        </p:nvSpPr>
        <p:spPr bwMode="auto">
          <a:xfrm>
            <a:off x="4835610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mars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7338801F-CE7D-4CD4-9082-8477E3D8DFF5}"/>
              </a:ext>
            </a:extLst>
          </p:cNvPr>
          <p:cNvSpPr>
            <a:spLocks/>
          </p:cNvSpPr>
          <p:nvPr userDrawn="1"/>
        </p:nvSpPr>
        <p:spPr bwMode="auto">
          <a:xfrm>
            <a:off x="5153315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avril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046BCAF6-E6E9-43BA-9126-DD6E14C25916}"/>
              </a:ext>
            </a:extLst>
          </p:cNvPr>
          <p:cNvSpPr>
            <a:spLocks/>
          </p:cNvSpPr>
          <p:nvPr userDrawn="1"/>
        </p:nvSpPr>
        <p:spPr bwMode="auto">
          <a:xfrm>
            <a:off x="5477070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mai</a:t>
            </a: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AE55D613-C372-411E-8614-0F88429DFABB}"/>
              </a:ext>
            </a:extLst>
          </p:cNvPr>
          <p:cNvSpPr>
            <a:spLocks/>
          </p:cNvSpPr>
          <p:nvPr userDrawn="1"/>
        </p:nvSpPr>
        <p:spPr bwMode="auto">
          <a:xfrm>
            <a:off x="5790542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uin</a:t>
            </a: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CD4747AF-63D9-4E1D-B9B3-86D08E45452C}"/>
              </a:ext>
            </a:extLst>
          </p:cNvPr>
          <p:cNvSpPr>
            <a:spLocks/>
          </p:cNvSpPr>
          <p:nvPr userDrawn="1"/>
        </p:nvSpPr>
        <p:spPr bwMode="auto">
          <a:xfrm>
            <a:off x="6101602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uill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5A9E405E-F293-4678-A3AF-7AAEB3D1E3C8}"/>
              </a:ext>
            </a:extLst>
          </p:cNvPr>
          <p:cNvSpPr>
            <a:spLocks/>
          </p:cNvSpPr>
          <p:nvPr userDrawn="1"/>
        </p:nvSpPr>
        <p:spPr bwMode="auto">
          <a:xfrm>
            <a:off x="6407207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aoû</a:t>
            </a:r>
            <a:r>
              <a:rPr lang="en-US" sz="900" b="1">
                <a:solidFill>
                  <a:prstClr val="black"/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t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77B03005-18AB-4529-8FEB-AF952D8F125B}"/>
              </a:ext>
            </a:extLst>
          </p:cNvPr>
          <p:cNvSpPr>
            <a:spLocks/>
          </p:cNvSpPr>
          <p:nvPr userDrawn="1"/>
        </p:nvSpPr>
        <p:spPr bwMode="auto">
          <a:xfrm>
            <a:off x="6723702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sept</a:t>
            </a: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CC7F2D34-6D1C-49BF-8E78-4340089EADD9}"/>
              </a:ext>
            </a:extLst>
          </p:cNvPr>
          <p:cNvSpPr>
            <a:spLocks/>
          </p:cNvSpPr>
          <p:nvPr userDrawn="1"/>
        </p:nvSpPr>
        <p:spPr bwMode="auto">
          <a:xfrm>
            <a:off x="7673198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déc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E21CB31C-51F0-41F1-9FF2-F217E6374185}"/>
              </a:ext>
            </a:extLst>
          </p:cNvPr>
          <p:cNvSpPr>
            <a:spLocks/>
          </p:cNvSpPr>
          <p:nvPr userDrawn="1"/>
        </p:nvSpPr>
        <p:spPr bwMode="auto">
          <a:xfrm>
            <a:off x="7040202" y="1240031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oct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C402331-6B3C-49FB-81E1-41EFDE92B49C}"/>
              </a:ext>
            </a:extLst>
          </p:cNvPr>
          <p:cNvSpPr>
            <a:spLocks/>
          </p:cNvSpPr>
          <p:nvPr userDrawn="1"/>
        </p:nvSpPr>
        <p:spPr bwMode="auto">
          <a:xfrm>
            <a:off x="7356699" y="1243422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nov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7C975C0E-C023-494C-9C46-32BC0CD0C972}"/>
              </a:ext>
            </a:extLst>
          </p:cNvPr>
          <p:cNvSpPr>
            <a:spLocks/>
          </p:cNvSpPr>
          <p:nvPr userDrawn="1"/>
        </p:nvSpPr>
        <p:spPr bwMode="auto">
          <a:xfrm>
            <a:off x="11483221" y="1524220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3391EB04-7DE1-47CD-A09D-CC5C1E67D57B}"/>
              </a:ext>
            </a:extLst>
          </p:cNvPr>
          <p:cNvSpPr>
            <a:spLocks/>
          </p:cNvSpPr>
          <p:nvPr userDrawn="1"/>
        </p:nvSpPr>
        <p:spPr bwMode="auto">
          <a:xfrm>
            <a:off x="9287093" y="1527611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310C1F8C-BC5E-4450-B725-28505D6F1DC5}"/>
              </a:ext>
            </a:extLst>
          </p:cNvPr>
          <p:cNvSpPr>
            <a:spLocks/>
          </p:cNvSpPr>
          <p:nvPr userDrawn="1"/>
        </p:nvSpPr>
        <p:spPr bwMode="auto">
          <a:xfrm>
            <a:off x="9906171" y="1524220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9221C6CD-41F3-4B1C-BFB8-C1E408ECCA3E}"/>
              </a:ext>
            </a:extLst>
          </p:cNvPr>
          <p:cNvSpPr>
            <a:spLocks/>
          </p:cNvSpPr>
          <p:nvPr userDrawn="1"/>
        </p:nvSpPr>
        <p:spPr bwMode="auto">
          <a:xfrm>
            <a:off x="8963338" y="1524220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EF992572-DA72-4B55-958D-0BD5E53D1A2C}"/>
              </a:ext>
            </a:extLst>
          </p:cNvPr>
          <p:cNvSpPr>
            <a:spLocks/>
          </p:cNvSpPr>
          <p:nvPr userDrawn="1"/>
        </p:nvSpPr>
        <p:spPr bwMode="auto">
          <a:xfrm>
            <a:off x="8645665" y="1527611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38" name="Rectangle 137">
            <a:extLst>
              <a:ext uri="{FF2B5EF4-FFF2-40B4-BE49-F238E27FC236}">
                <a16:creationId xmlns:a16="http://schemas.microsoft.com/office/drawing/2014/main" id="{1530750C-E888-433F-BDA5-33652753663B}"/>
              </a:ext>
            </a:extLst>
          </p:cNvPr>
          <p:cNvSpPr>
            <a:spLocks/>
          </p:cNvSpPr>
          <p:nvPr userDrawn="1"/>
        </p:nvSpPr>
        <p:spPr bwMode="auto">
          <a:xfrm>
            <a:off x="8012674" y="1527611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5A9B74FE-C7B3-431F-95A7-74178346D3B2}"/>
              </a:ext>
            </a:extLst>
          </p:cNvPr>
          <p:cNvSpPr>
            <a:spLocks/>
          </p:cNvSpPr>
          <p:nvPr userDrawn="1"/>
        </p:nvSpPr>
        <p:spPr bwMode="auto">
          <a:xfrm>
            <a:off x="8330379" y="1527611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56FF0666-6744-4751-AEF3-17D3C62110F7}"/>
              </a:ext>
            </a:extLst>
          </p:cNvPr>
          <p:cNvSpPr>
            <a:spLocks/>
          </p:cNvSpPr>
          <p:nvPr userDrawn="1"/>
        </p:nvSpPr>
        <p:spPr bwMode="auto">
          <a:xfrm>
            <a:off x="9600565" y="1524220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0AC3B923-30A6-463E-9CC3-C2D43474700D}"/>
              </a:ext>
            </a:extLst>
          </p:cNvPr>
          <p:cNvSpPr>
            <a:spLocks/>
          </p:cNvSpPr>
          <p:nvPr userDrawn="1"/>
        </p:nvSpPr>
        <p:spPr bwMode="auto">
          <a:xfrm>
            <a:off x="10217230" y="1524220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42" name="Rectangle 141">
            <a:extLst>
              <a:ext uri="{FF2B5EF4-FFF2-40B4-BE49-F238E27FC236}">
                <a16:creationId xmlns:a16="http://schemas.microsoft.com/office/drawing/2014/main" id="{1AB85D80-2D36-4ABF-9954-AFA406959EDE}"/>
              </a:ext>
            </a:extLst>
          </p:cNvPr>
          <p:cNvSpPr>
            <a:spLocks/>
          </p:cNvSpPr>
          <p:nvPr userDrawn="1"/>
        </p:nvSpPr>
        <p:spPr bwMode="auto">
          <a:xfrm>
            <a:off x="10533725" y="1527611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4DC21D85-FC54-44B6-AD09-0D377AD45FD7}"/>
              </a:ext>
            </a:extLst>
          </p:cNvPr>
          <p:cNvSpPr>
            <a:spLocks/>
          </p:cNvSpPr>
          <p:nvPr userDrawn="1"/>
        </p:nvSpPr>
        <p:spPr bwMode="auto">
          <a:xfrm>
            <a:off x="10850225" y="1524220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E979CC17-FBEE-45E9-AF26-266E5595D684}"/>
              </a:ext>
            </a:extLst>
          </p:cNvPr>
          <p:cNvSpPr>
            <a:spLocks/>
          </p:cNvSpPr>
          <p:nvPr userDrawn="1"/>
        </p:nvSpPr>
        <p:spPr bwMode="auto">
          <a:xfrm>
            <a:off x="11166722" y="1527611"/>
            <a:ext cx="288000" cy="5184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250" b="1">
              <a:solidFill>
                <a:prstClr val="black"/>
              </a:solidFill>
              <a:latin typeface="Arial" panose="020B060402020202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45" name="Rectangle 144">
            <a:extLst>
              <a:ext uri="{FF2B5EF4-FFF2-40B4-BE49-F238E27FC236}">
                <a16:creationId xmlns:a16="http://schemas.microsoft.com/office/drawing/2014/main" id="{CB075485-F00D-499D-B04F-D4F9F831CD77}"/>
              </a:ext>
            </a:extLst>
          </p:cNvPr>
          <p:cNvSpPr>
            <a:spLocks/>
          </p:cNvSpPr>
          <p:nvPr userDrawn="1"/>
        </p:nvSpPr>
        <p:spPr bwMode="auto">
          <a:xfrm>
            <a:off x="8012642" y="1243420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anv</a:t>
            </a:r>
          </a:p>
        </p:txBody>
      </p:sp>
      <p:sp>
        <p:nvSpPr>
          <p:cNvPr id="146" name="Rectangle 145">
            <a:extLst>
              <a:ext uri="{FF2B5EF4-FFF2-40B4-BE49-F238E27FC236}">
                <a16:creationId xmlns:a16="http://schemas.microsoft.com/office/drawing/2014/main" id="{2670D529-98F8-484F-80A6-3EC7ADC648E7}"/>
              </a:ext>
            </a:extLst>
          </p:cNvPr>
          <p:cNvSpPr>
            <a:spLocks/>
          </p:cNvSpPr>
          <p:nvPr userDrawn="1"/>
        </p:nvSpPr>
        <p:spPr bwMode="auto">
          <a:xfrm>
            <a:off x="8330347" y="1243420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fév</a:t>
            </a:r>
          </a:p>
        </p:txBody>
      </p:sp>
      <p:sp>
        <p:nvSpPr>
          <p:cNvPr id="147" name="Rectangle 146">
            <a:extLst>
              <a:ext uri="{FF2B5EF4-FFF2-40B4-BE49-F238E27FC236}">
                <a16:creationId xmlns:a16="http://schemas.microsoft.com/office/drawing/2014/main" id="{77B2B127-0427-49EE-885D-263768CBB843}"/>
              </a:ext>
            </a:extLst>
          </p:cNvPr>
          <p:cNvSpPr>
            <a:spLocks/>
          </p:cNvSpPr>
          <p:nvPr userDrawn="1"/>
        </p:nvSpPr>
        <p:spPr bwMode="auto">
          <a:xfrm>
            <a:off x="8645633" y="1243420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mars</a:t>
            </a:r>
          </a:p>
        </p:txBody>
      </p:sp>
      <p:sp>
        <p:nvSpPr>
          <p:cNvPr id="148" name="Rectangle 147">
            <a:extLst>
              <a:ext uri="{FF2B5EF4-FFF2-40B4-BE49-F238E27FC236}">
                <a16:creationId xmlns:a16="http://schemas.microsoft.com/office/drawing/2014/main" id="{CF1F17F9-D9CD-4E4C-A49C-A4D5EE764FE0}"/>
              </a:ext>
            </a:extLst>
          </p:cNvPr>
          <p:cNvSpPr>
            <a:spLocks/>
          </p:cNvSpPr>
          <p:nvPr userDrawn="1"/>
        </p:nvSpPr>
        <p:spPr bwMode="auto">
          <a:xfrm>
            <a:off x="8963338" y="1240029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avril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id="{DD603A3B-6641-4083-B64C-26C01D4ECE16}"/>
              </a:ext>
            </a:extLst>
          </p:cNvPr>
          <p:cNvSpPr>
            <a:spLocks/>
          </p:cNvSpPr>
          <p:nvPr userDrawn="1"/>
        </p:nvSpPr>
        <p:spPr bwMode="auto">
          <a:xfrm>
            <a:off x="9287093" y="1243420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mai</a:t>
            </a: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B88022F7-F332-4F23-AF72-4D02E6759FEC}"/>
              </a:ext>
            </a:extLst>
          </p:cNvPr>
          <p:cNvSpPr>
            <a:spLocks/>
          </p:cNvSpPr>
          <p:nvPr userDrawn="1"/>
        </p:nvSpPr>
        <p:spPr bwMode="auto">
          <a:xfrm>
            <a:off x="9600565" y="1240029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uin</a:t>
            </a: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745EB05D-8CFE-4369-A646-3F6E43BDA258}"/>
              </a:ext>
            </a:extLst>
          </p:cNvPr>
          <p:cNvSpPr>
            <a:spLocks/>
          </p:cNvSpPr>
          <p:nvPr userDrawn="1"/>
        </p:nvSpPr>
        <p:spPr bwMode="auto">
          <a:xfrm>
            <a:off x="9911625" y="1243420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juill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D5091D24-1AD1-42ED-BD59-7065980B214E}"/>
              </a:ext>
            </a:extLst>
          </p:cNvPr>
          <p:cNvSpPr>
            <a:spLocks/>
          </p:cNvSpPr>
          <p:nvPr userDrawn="1"/>
        </p:nvSpPr>
        <p:spPr bwMode="auto">
          <a:xfrm>
            <a:off x="10217230" y="1240029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aoû</a:t>
            </a:r>
            <a:r>
              <a:rPr lang="en-US" sz="900" b="1">
                <a:solidFill>
                  <a:prstClr val="black"/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t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085E504F-6EC9-4D57-B306-8ADD373B9ECD}"/>
              </a:ext>
            </a:extLst>
          </p:cNvPr>
          <p:cNvSpPr>
            <a:spLocks/>
          </p:cNvSpPr>
          <p:nvPr userDrawn="1"/>
        </p:nvSpPr>
        <p:spPr bwMode="auto">
          <a:xfrm>
            <a:off x="10533725" y="1243420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sept</a:t>
            </a:r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7C220076-86C9-43B1-BA25-A81A9F6EFF41}"/>
              </a:ext>
            </a:extLst>
          </p:cNvPr>
          <p:cNvSpPr>
            <a:spLocks/>
          </p:cNvSpPr>
          <p:nvPr userDrawn="1"/>
        </p:nvSpPr>
        <p:spPr bwMode="auto">
          <a:xfrm>
            <a:off x="11483221" y="1240029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déc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CC3496BB-609B-4E63-8793-4E13F5CD900D}"/>
              </a:ext>
            </a:extLst>
          </p:cNvPr>
          <p:cNvSpPr>
            <a:spLocks/>
          </p:cNvSpPr>
          <p:nvPr userDrawn="1"/>
        </p:nvSpPr>
        <p:spPr bwMode="auto">
          <a:xfrm>
            <a:off x="10850225" y="1240029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oct</a:t>
            </a: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AB5DE670-D979-4739-8ADC-9BBE1B4FC82A}"/>
              </a:ext>
            </a:extLst>
          </p:cNvPr>
          <p:cNvSpPr>
            <a:spLocks/>
          </p:cNvSpPr>
          <p:nvPr userDrawn="1"/>
        </p:nvSpPr>
        <p:spPr bwMode="auto">
          <a:xfrm>
            <a:off x="11166722" y="1243420"/>
            <a:ext cx="288000" cy="180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ea typeface="ヒラギノ角ゴ ProN W6" charset="0"/>
                <a:cs typeface="Arial" panose="020B0604020202020204" pitchFamily="34" charset="0"/>
                <a:sym typeface="Helvetica Neue Bold Condensed" charset="0"/>
              </a:rPr>
              <a:t>nov</a:t>
            </a:r>
          </a:p>
        </p:txBody>
      </p:sp>
      <p:pic>
        <p:nvPicPr>
          <p:cNvPr id="191" name="Image 190">
            <a:extLst>
              <a:ext uri="{FF2B5EF4-FFF2-40B4-BE49-F238E27FC236}">
                <a16:creationId xmlns:a16="http://schemas.microsoft.com/office/drawing/2014/main" id="{CCFAFE76-B4F8-4C50-B201-67DECB05EB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2"/>
            <a:ext cx="920364" cy="690517"/>
          </a:xfrm>
          <a:prstGeom prst="rect">
            <a:avLst/>
          </a:prstGeom>
        </p:spPr>
      </p:pic>
      <p:pic>
        <p:nvPicPr>
          <p:cNvPr id="190" name="Image 189">
            <a:extLst>
              <a:ext uri="{FF2B5EF4-FFF2-40B4-BE49-F238E27FC236}">
                <a16:creationId xmlns:a16="http://schemas.microsoft.com/office/drawing/2014/main" id="{D71A0B8E-BEF7-4547-985E-067F6FDF80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4928" y="542348"/>
            <a:ext cx="11790371" cy="550803"/>
          </a:xfrm>
          <a:prstGeom prst="rect">
            <a:avLst/>
          </a:prstGeom>
          <a:noFill/>
          <a:ln>
            <a:noFill/>
          </a:ln>
        </p:spPr>
      </p:pic>
      <p:sp>
        <p:nvSpPr>
          <p:cNvPr id="132" name="Rectangle 131">
            <a:extLst>
              <a:ext uri="{FF2B5EF4-FFF2-40B4-BE49-F238E27FC236}">
                <a16:creationId xmlns:a16="http://schemas.microsoft.com/office/drawing/2014/main" id="{FA5BA421-686A-4328-B8CF-2C03CAEE122F}"/>
              </a:ext>
            </a:extLst>
          </p:cNvPr>
          <p:cNvSpPr>
            <a:spLocks/>
          </p:cNvSpPr>
          <p:nvPr userDrawn="1"/>
        </p:nvSpPr>
        <p:spPr bwMode="auto">
          <a:xfrm>
            <a:off x="4202619" y="913936"/>
            <a:ext cx="3764022" cy="288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50" b="1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157" name="Rectangle 156">
            <a:extLst>
              <a:ext uri="{FF2B5EF4-FFF2-40B4-BE49-F238E27FC236}">
                <a16:creationId xmlns:a16="http://schemas.microsoft.com/office/drawing/2014/main" id="{9D96DF95-79A6-4267-AFD6-C7B9A71F945F}"/>
              </a:ext>
            </a:extLst>
          </p:cNvPr>
          <p:cNvSpPr>
            <a:spLocks/>
          </p:cNvSpPr>
          <p:nvPr userDrawn="1"/>
        </p:nvSpPr>
        <p:spPr bwMode="auto">
          <a:xfrm>
            <a:off x="8012642" y="913934"/>
            <a:ext cx="3764022" cy="288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50" b="1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7EF1E7D5-65B9-483A-8036-63629B9672D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16639" y="906476"/>
            <a:ext cx="2601546" cy="252000"/>
          </a:xfrm>
        </p:spPr>
        <p:txBody>
          <a:bodyPr anchor="ctr"/>
          <a:lstStyle>
            <a:lvl1pPr algn="ctr"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2pPr>
            <a:lvl3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3pPr>
            <a:lvl4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4pPr>
            <a:lvl5pPr>
              <a:defRPr lang="fr-FR" sz="1200" kern="1200" dirty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endParaRPr lang="fr-FR"/>
          </a:p>
        </p:txBody>
      </p:sp>
      <p:sp>
        <p:nvSpPr>
          <p:cNvPr id="185" name="Espace réservé du texte 184">
            <a:extLst>
              <a:ext uri="{FF2B5EF4-FFF2-40B4-BE49-F238E27FC236}">
                <a16:creationId xmlns:a16="http://schemas.microsoft.com/office/drawing/2014/main" id="{C4CED1D1-ABF9-47B1-999A-58E14CE6F14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88729" y="926744"/>
            <a:ext cx="3414541" cy="252000"/>
          </a:xfrm>
        </p:spPr>
        <p:txBody>
          <a:bodyPr anchor="ctr"/>
          <a:lstStyle>
            <a:lvl1pPr algn="ctr"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2pPr>
            <a:lvl3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3pPr>
            <a:lvl4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4pPr>
            <a:lvl5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endParaRPr lang="fr-FR"/>
          </a:p>
        </p:txBody>
      </p:sp>
      <p:sp>
        <p:nvSpPr>
          <p:cNvPr id="187" name="Espace réservé du texte 186">
            <a:extLst>
              <a:ext uri="{FF2B5EF4-FFF2-40B4-BE49-F238E27FC236}">
                <a16:creationId xmlns:a16="http://schemas.microsoft.com/office/drawing/2014/main" id="{70C76EFF-F35E-4A3B-B7A3-1BB93770277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8569" y="914779"/>
            <a:ext cx="3377156" cy="252000"/>
          </a:xfrm>
        </p:spPr>
        <p:txBody>
          <a:bodyPr anchor="ctr"/>
          <a:lstStyle>
            <a:lvl1pPr algn="ctr"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2pPr>
            <a:lvl3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3pPr>
            <a:lvl4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4pPr>
            <a:lvl5pPr>
              <a:defRPr lang="fr-FR" sz="1200" kern="1200" dirty="0" smtClean="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endParaRPr lang="fr-FR"/>
          </a:p>
        </p:txBody>
      </p:sp>
      <p:sp>
        <p:nvSpPr>
          <p:cNvPr id="44" name="Espace réservé du titre 1">
            <a:extLst>
              <a:ext uri="{FF2B5EF4-FFF2-40B4-BE49-F238E27FC236}">
                <a16:creationId xmlns:a16="http://schemas.microsoft.com/office/drawing/2014/main" id="{5B7C7571-63EE-4049-B2FA-BD830E4E7D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98432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chemeClr val="accent2"/>
                </a:solidFill>
              </a:defRPr>
            </a:lvl1pPr>
          </a:lstStyle>
          <a:p>
            <a:r>
              <a:rPr lang="fr-FR" noProof="0"/>
              <a:t>Titre</a:t>
            </a:r>
          </a:p>
        </p:txBody>
      </p:sp>
      <p:sp>
        <p:nvSpPr>
          <p:cNvPr id="184" name="Rectangle 183">
            <a:extLst>
              <a:ext uri="{FF2B5EF4-FFF2-40B4-BE49-F238E27FC236}">
                <a16:creationId xmlns:a16="http://schemas.microsoft.com/office/drawing/2014/main" id="{D6BF6710-6399-4A67-B050-CE20C70D0EEE}"/>
              </a:ext>
            </a:extLst>
          </p:cNvPr>
          <p:cNvSpPr>
            <a:spLocks/>
          </p:cNvSpPr>
          <p:nvPr userDrawn="1"/>
        </p:nvSpPr>
        <p:spPr bwMode="auto">
          <a:xfrm>
            <a:off x="386514" y="908001"/>
            <a:ext cx="3764022" cy="288000"/>
          </a:xfrm>
          <a:prstGeom prst="rect">
            <a:avLst/>
          </a:prstGeom>
          <a:solidFill>
            <a:srgbClr val="343434">
              <a:alpha val="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25400" cap="flat">
                <a:solidFill>
                  <a:srgbClr val="000000">
                    <a:alpha val="25000"/>
                  </a:srgbClr>
                </a:solidFill>
                <a:miter lim="800000"/>
                <a:headEnd type="none" w="med" len="med"/>
                <a:tailEnd type="none" w="med" len="med"/>
              </a14:hiddenLine>
            </a:ext>
          </a:extLst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50" b="1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ea typeface="ヒラギノ角ゴ ProN W6" charset="0"/>
              <a:cs typeface="Arial" panose="020B0604020202020204" pitchFamily="34" charset="0"/>
              <a:sym typeface="Helvetica Neue Bold Condensed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0856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6240463" y="3429001"/>
            <a:ext cx="5435600" cy="2671548"/>
          </a:xfrm>
        </p:spPr>
        <p:txBody>
          <a:bodyPr lIns="72000" rIns="72000">
            <a:noAutofit/>
          </a:bodyPr>
          <a:lstStyle>
            <a:lvl1pPr marL="0" indent="0" algn="l">
              <a:buNone/>
              <a:defRPr sz="2000" b="1">
                <a:solidFill>
                  <a:schemeClr val="accent2"/>
                </a:solidFill>
                <a:latin typeface="Avenir LT Std 55 Roman" panose="020B05030202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240463" y="1808163"/>
            <a:ext cx="5435600" cy="1441449"/>
          </a:xfrm>
        </p:spPr>
        <p:txBody>
          <a:bodyPr lIns="72000" rIns="72000" anchor="b">
            <a:noAutofit/>
          </a:bodyPr>
          <a:lstStyle>
            <a:lvl1pPr algn="l">
              <a:defRPr sz="3200">
                <a:latin typeface="AntagometricaBTW01-Bold" panose="020B0806020202040206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87485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101653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486920" y="1808163"/>
            <a:ext cx="11189144" cy="4284662"/>
          </a:xfrm>
        </p:spPr>
        <p:txBody>
          <a:bodyPr lIns="72000" rIns="72000"/>
          <a:lstStyle>
            <a:lvl1pPr>
              <a:buClr>
                <a:schemeClr val="accent2"/>
              </a:buCl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835729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EN TÊ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2453670"/>
          </a:xfrm>
          <a:custGeom>
            <a:avLst/>
            <a:gdLst>
              <a:gd name="connsiteX0" fmla="*/ 0 w 12192000"/>
              <a:gd name="connsiteY0" fmla="*/ 0 h 2453670"/>
              <a:gd name="connsiteX1" fmla="*/ 12192000 w 12192000"/>
              <a:gd name="connsiteY1" fmla="*/ 0 h 2453670"/>
              <a:gd name="connsiteX2" fmla="*/ 12192000 w 12192000"/>
              <a:gd name="connsiteY2" fmla="*/ 2321164 h 2453670"/>
              <a:gd name="connsiteX3" fmla="*/ 4019838 w 12192000"/>
              <a:gd name="connsiteY3" fmla="*/ 1357366 h 2453670"/>
              <a:gd name="connsiteX4" fmla="*/ 1616656 w 12192000"/>
              <a:gd name="connsiteY4" fmla="*/ 2108726 h 2453670"/>
              <a:gd name="connsiteX5" fmla="*/ 0 w 12192000"/>
              <a:gd name="connsiteY5" fmla="*/ 1492096 h 2453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2453670">
                <a:moveTo>
                  <a:pt x="0" y="0"/>
                </a:moveTo>
                <a:lnTo>
                  <a:pt x="12192000" y="0"/>
                </a:lnTo>
                <a:lnTo>
                  <a:pt x="12192000" y="2321164"/>
                </a:lnTo>
                <a:cubicBezTo>
                  <a:pt x="9034993" y="2870148"/>
                  <a:pt x="5498978" y="1548001"/>
                  <a:pt x="4019838" y="1357366"/>
                </a:cubicBezTo>
                <a:cubicBezTo>
                  <a:pt x="2540699" y="1166731"/>
                  <a:pt x="2894552" y="2108726"/>
                  <a:pt x="1616656" y="2108726"/>
                </a:cubicBezTo>
                <a:cubicBezTo>
                  <a:pt x="338760" y="2108726"/>
                  <a:pt x="0" y="1492096"/>
                  <a:pt x="0" y="1492096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bg1"/>
            </a:bgClr>
          </a:pattFill>
          <a:effectLst>
            <a:outerShdw blurRad="50800" dist="50800" dir="8100000" algn="ctr" rotWithShape="0">
              <a:srgbClr val="000000">
                <a:alpha val="5000"/>
              </a:srgbClr>
            </a:outerShdw>
          </a:effectLst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479424" y="2963726"/>
            <a:ext cx="5448664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r>
              <a:rPr lang="fr-FR" dirty="0"/>
              <a:t>Deuxième niveau</a:t>
            </a:r>
          </a:p>
          <a:p>
            <a:pPr lvl="0"/>
            <a:r>
              <a:rPr lang="fr-FR" dirty="0"/>
              <a:t>Troisième niveau</a:t>
            </a: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4544332"/>
            <a:ext cx="5448664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r>
              <a:rPr lang="fr-FR" dirty="0"/>
              <a:t>Deuxième niveau</a:t>
            </a:r>
          </a:p>
          <a:p>
            <a:pPr lvl="0"/>
            <a:r>
              <a:rPr lang="fr-FR" dirty="0"/>
              <a:t>Troisième niveau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240463" y="2963726"/>
            <a:ext cx="5435600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r>
              <a:rPr lang="fr-FR" dirty="0"/>
              <a:t>Deuxième niveau</a:t>
            </a:r>
          </a:p>
          <a:p>
            <a:pPr lvl="0"/>
            <a:r>
              <a:rPr lang="fr-FR" dirty="0"/>
              <a:t>Troisième niveau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240463" y="4544332"/>
            <a:ext cx="5435600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0"/>
            <a:r>
              <a:rPr lang="fr-FR" dirty="0"/>
              <a:t>Deuxième niveau</a:t>
            </a:r>
          </a:p>
          <a:p>
            <a:pPr lvl="0"/>
            <a:r>
              <a:rPr lang="fr-FR" dirty="0"/>
              <a:t>Troisième niveau</a:t>
            </a:r>
          </a:p>
        </p:txBody>
      </p:sp>
      <p:sp>
        <p:nvSpPr>
          <p:cNvPr id="15" name="Espace réservé du titre 1"/>
          <p:cNvSpPr>
            <a:spLocks noGrp="1"/>
          </p:cNvSpPr>
          <p:nvPr>
            <p:ph type="title"/>
          </p:nvPr>
        </p:nvSpPr>
        <p:spPr>
          <a:xfrm>
            <a:off x="479424" y="225426"/>
            <a:ext cx="11196639" cy="970820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495373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uverture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gray">
          <a:xfrm>
            <a:off x="2112434" y="1"/>
            <a:ext cx="10079567" cy="203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rme libre 10"/>
          <p:cNvSpPr/>
          <p:nvPr userDrawn="1"/>
        </p:nvSpPr>
        <p:spPr bwMode="gray">
          <a:xfrm rot="16200000">
            <a:off x="3683794" y="-1650206"/>
            <a:ext cx="4824412" cy="12192000"/>
          </a:xfrm>
          <a:custGeom>
            <a:avLst/>
            <a:gdLst>
              <a:gd name="connsiteX0" fmla="*/ 4824000 w 4824000"/>
              <a:gd name="connsiteY0" fmla="*/ 630000 h 9144000"/>
              <a:gd name="connsiteX1" fmla="*/ 4824000 w 4824000"/>
              <a:gd name="connsiteY1" fmla="*/ 899592 h 9144000"/>
              <a:gd name="connsiteX2" fmla="*/ 4824000 w 4824000"/>
              <a:gd name="connsiteY2" fmla="*/ 1260000 h 9144000"/>
              <a:gd name="connsiteX3" fmla="*/ 4824000 w 4824000"/>
              <a:gd name="connsiteY3" fmla="*/ 9144000 h 9144000"/>
              <a:gd name="connsiteX4" fmla="*/ 3753660 w 4824000"/>
              <a:gd name="connsiteY4" fmla="*/ 9144000 h 9144000"/>
              <a:gd name="connsiteX5" fmla="*/ 540 w 4824000"/>
              <a:gd name="connsiteY5" fmla="*/ 9144000 h 9144000"/>
              <a:gd name="connsiteX6" fmla="*/ 0 w 4824000"/>
              <a:gd name="connsiteY6" fmla="*/ 9144000 h 9144000"/>
              <a:gd name="connsiteX7" fmla="*/ 0 w 4824000"/>
              <a:gd name="connsiteY7" fmla="*/ 0 h 9144000"/>
              <a:gd name="connsiteX8" fmla="*/ 3753660 w 4824000"/>
              <a:gd name="connsiteY8" fmla="*/ 0 h 9144000"/>
              <a:gd name="connsiteX9" fmla="*/ 3753660 w 4824000"/>
              <a:gd name="connsiteY9" fmla="*/ 0 h 9144000"/>
              <a:gd name="connsiteX10" fmla="*/ 4194000 w 4824000"/>
              <a:gd name="connsiteY10" fmla="*/ 0 h 9144000"/>
              <a:gd name="connsiteX11" fmla="*/ 4824000 w 4824000"/>
              <a:gd name="connsiteY11" fmla="*/ 630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824000" h="9144000">
                <a:moveTo>
                  <a:pt x="4824000" y="630000"/>
                </a:moveTo>
                <a:lnTo>
                  <a:pt x="4824000" y="899592"/>
                </a:lnTo>
                <a:lnTo>
                  <a:pt x="4824000" y="1260000"/>
                </a:lnTo>
                <a:lnTo>
                  <a:pt x="4824000" y="9144000"/>
                </a:lnTo>
                <a:lnTo>
                  <a:pt x="3753660" y="9144000"/>
                </a:lnTo>
                <a:lnTo>
                  <a:pt x="540" y="9144000"/>
                </a:lnTo>
                <a:lnTo>
                  <a:pt x="0" y="9144000"/>
                </a:lnTo>
                <a:lnTo>
                  <a:pt x="0" y="0"/>
                </a:lnTo>
                <a:lnTo>
                  <a:pt x="3753660" y="0"/>
                </a:lnTo>
                <a:lnTo>
                  <a:pt x="3753660" y="0"/>
                </a:lnTo>
                <a:lnTo>
                  <a:pt x="4194000" y="0"/>
                </a:lnTo>
                <a:cubicBezTo>
                  <a:pt x="4541939" y="0"/>
                  <a:pt x="4824000" y="282061"/>
                  <a:pt x="4824000" y="63000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 11"/>
          <p:cNvPicPr>
            <a:picLocks noChangeAspect="1"/>
          </p:cNvPicPr>
          <p:nvPr userDrawn="1"/>
        </p:nvPicPr>
        <p:blipFill>
          <a:blip r:embed="rId3"/>
          <a:srcRect b="11510"/>
          <a:stretch>
            <a:fillRect/>
          </a:stretch>
        </p:blipFill>
        <p:spPr bwMode="gray">
          <a:xfrm>
            <a:off x="2" y="2"/>
            <a:ext cx="2680096" cy="1624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760200" y="6705600"/>
            <a:ext cx="431800" cy="15186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112000" y="3078000"/>
            <a:ext cx="9648000" cy="30168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lnSpc>
                <a:spcPct val="100000"/>
              </a:lnSpc>
              <a:buNone/>
              <a:defRPr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Cliquez pour modifier le style des sous-titres du masque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 sz="100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8F86D7F-0C00-4D1F-B9AB-6B0B866949BA}" type="datetime1">
              <a:rPr lang="en-GB" smtClean="0"/>
              <a:t>14/02/2024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1760200" y="6705600"/>
            <a:ext cx="431800" cy="152400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60200" y="6705600"/>
            <a:ext cx="431800" cy="152400"/>
          </a:xfrm>
        </p:spPr>
        <p:txBody>
          <a:bodyPr/>
          <a:lstStyle>
            <a:lvl1pPr>
              <a:defRPr sz="100"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7410ED2-A238-4CAC-AF6E-1604D95DC243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3414684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24312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1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gray">
          <a:xfrm>
            <a:off x="1" y="0"/>
            <a:ext cx="1919817" cy="1447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Image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gray">
          <a:xfrm>
            <a:off x="0" y="6318250"/>
            <a:ext cx="12192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09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9" name="Object 20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 bwMode="gray">
          <a:xfrm>
            <a:off x="2615142" y="413691"/>
            <a:ext cx="9408583" cy="11525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/>
          </p:nvPr>
        </p:nvSpPr>
        <p:spPr bwMode="gray">
          <a:xfrm>
            <a:off x="1876868" y="1890389"/>
            <a:ext cx="9935633" cy="410368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10" name="Espace réservé de la date 10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5EBF935-DB89-4AA8-9B13-9AA72AB3801F}" type="datetime1">
              <a:rPr lang="en-GB" smtClean="0"/>
              <a:t>14/02/2024</a:t>
            </a:fld>
            <a:endParaRPr lang="fr-FR"/>
          </a:p>
        </p:txBody>
      </p:sp>
      <p:sp>
        <p:nvSpPr>
          <p:cNvPr id="11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E7B1AB0-5838-4A0A-BA1E-89A0B30053BC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5507445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Slide Titre e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946292" y="0"/>
            <a:ext cx="3245708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9AF0DBF7-93F6-4373-827D-156DCD1CF1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1422" y="1581528"/>
            <a:ext cx="7600122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B1AF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4197684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uverture_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9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gray">
          <a:xfrm>
            <a:off x="2112434" y="1"/>
            <a:ext cx="10079567" cy="203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orme libre 10"/>
          <p:cNvSpPr/>
          <p:nvPr userDrawn="1"/>
        </p:nvSpPr>
        <p:spPr bwMode="gray">
          <a:xfrm rot="16200000">
            <a:off x="3683794" y="-1650206"/>
            <a:ext cx="4824412" cy="12192000"/>
          </a:xfrm>
          <a:custGeom>
            <a:avLst/>
            <a:gdLst>
              <a:gd name="connsiteX0" fmla="*/ 4824000 w 4824000"/>
              <a:gd name="connsiteY0" fmla="*/ 630000 h 9144000"/>
              <a:gd name="connsiteX1" fmla="*/ 4824000 w 4824000"/>
              <a:gd name="connsiteY1" fmla="*/ 899592 h 9144000"/>
              <a:gd name="connsiteX2" fmla="*/ 4824000 w 4824000"/>
              <a:gd name="connsiteY2" fmla="*/ 1260000 h 9144000"/>
              <a:gd name="connsiteX3" fmla="*/ 4824000 w 4824000"/>
              <a:gd name="connsiteY3" fmla="*/ 9144000 h 9144000"/>
              <a:gd name="connsiteX4" fmla="*/ 3753660 w 4824000"/>
              <a:gd name="connsiteY4" fmla="*/ 9144000 h 9144000"/>
              <a:gd name="connsiteX5" fmla="*/ 540 w 4824000"/>
              <a:gd name="connsiteY5" fmla="*/ 9144000 h 9144000"/>
              <a:gd name="connsiteX6" fmla="*/ 0 w 4824000"/>
              <a:gd name="connsiteY6" fmla="*/ 9144000 h 9144000"/>
              <a:gd name="connsiteX7" fmla="*/ 0 w 4824000"/>
              <a:gd name="connsiteY7" fmla="*/ 0 h 9144000"/>
              <a:gd name="connsiteX8" fmla="*/ 3753660 w 4824000"/>
              <a:gd name="connsiteY8" fmla="*/ 0 h 9144000"/>
              <a:gd name="connsiteX9" fmla="*/ 3753660 w 4824000"/>
              <a:gd name="connsiteY9" fmla="*/ 0 h 9144000"/>
              <a:gd name="connsiteX10" fmla="*/ 4194000 w 4824000"/>
              <a:gd name="connsiteY10" fmla="*/ 0 h 9144000"/>
              <a:gd name="connsiteX11" fmla="*/ 4824000 w 4824000"/>
              <a:gd name="connsiteY11" fmla="*/ 630000 h 914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824000" h="9144000">
                <a:moveTo>
                  <a:pt x="4824000" y="630000"/>
                </a:moveTo>
                <a:lnTo>
                  <a:pt x="4824000" y="899592"/>
                </a:lnTo>
                <a:lnTo>
                  <a:pt x="4824000" y="1260000"/>
                </a:lnTo>
                <a:lnTo>
                  <a:pt x="4824000" y="9144000"/>
                </a:lnTo>
                <a:lnTo>
                  <a:pt x="3753660" y="9144000"/>
                </a:lnTo>
                <a:lnTo>
                  <a:pt x="540" y="9144000"/>
                </a:lnTo>
                <a:lnTo>
                  <a:pt x="0" y="9144000"/>
                </a:lnTo>
                <a:lnTo>
                  <a:pt x="0" y="0"/>
                </a:lnTo>
                <a:lnTo>
                  <a:pt x="3753660" y="0"/>
                </a:lnTo>
                <a:lnTo>
                  <a:pt x="3753660" y="0"/>
                </a:lnTo>
                <a:lnTo>
                  <a:pt x="4194000" y="0"/>
                </a:lnTo>
                <a:cubicBezTo>
                  <a:pt x="4541939" y="0"/>
                  <a:pt x="4824000" y="282061"/>
                  <a:pt x="4824000" y="630000"/>
                </a:cubicBezTo>
                <a:close/>
              </a:path>
            </a:pathLst>
          </a:cu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r-FR" sz="18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Image 11"/>
          <p:cNvPicPr>
            <a:picLocks noChangeAspect="1"/>
          </p:cNvPicPr>
          <p:nvPr userDrawn="1"/>
        </p:nvPicPr>
        <p:blipFill>
          <a:blip r:embed="rId3"/>
          <a:srcRect b="11510"/>
          <a:stretch>
            <a:fillRect/>
          </a:stretch>
        </p:blipFill>
        <p:spPr bwMode="gray">
          <a:xfrm>
            <a:off x="2" y="2"/>
            <a:ext cx="2680096" cy="1624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760200" y="6705600"/>
            <a:ext cx="431800" cy="151860"/>
          </a:xfrm>
        </p:spPr>
        <p:txBody>
          <a:bodyPr/>
          <a:lstStyle>
            <a:lvl1pPr>
              <a:defRPr sz="100">
                <a:solidFill>
                  <a:schemeClr val="bg1">
                    <a:alpha val="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112000" y="3078000"/>
            <a:ext cx="9648000" cy="3016800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0" indent="0" algn="l">
              <a:lnSpc>
                <a:spcPct val="100000"/>
              </a:lnSpc>
              <a:buNone/>
              <a:defRPr sz="21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noProof="0"/>
              <a:t>Cliquez pour modifier le style des sous-titres du masque</a:t>
            </a:r>
          </a:p>
        </p:txBody>
      </p:sp>
      <p:sp>
        <p:nvSpPr>
          <p:cNvPr id="7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 sz="100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596E995-6A4F-4A50-A5C8-FEADDEF7134B}" type="datetime1">
              <a:rPr lang="en-GB" smtClean="0"/>
              <a:t>14/02/2024</a:t>
            </a:fld>
            <a:endParaRPr lang="fr-FR"/>
          </a:p>
        </p:txBody>
      </p:sp>
      <p:sp>
        <p:nvSpPr>
          <p:cNvPr id="8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1760200" y="6705600"/>
            <a:ext cx="431800" cy="152400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sz="100"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760200" y="6705600"/>
            <a:ext cx="431800" cy="152400"/>
          </a:xfrm>
        </p:spPr>
        <p:txBody>
          <a:bodyPr/>
          <a:lstStyle>
            <a:lvl1pPr>
              <a:defRPr sz="100"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7410ED2-A238-4CAC-AF6E-1604D95DC243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010688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1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64385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1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gray">
          <a:xfrm>
            <a:off x="1" y="0"/>
            <a:ext cx="1919817" cy="1447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Image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gray">
          <a:xfrm>
            <a:off x="0" y="6318250"/>
            <a:ext cx="12192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09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9" name="Object 20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space réservé de la date 10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EEA671A-0D37-4021-9246-A4B5B7063ECC}" type="datetime1">
              <a:rPr lang="en-GB" smtClean="0"/>
              <a:t>14/02/2024</a:t>
            </a:fld>
            <a:endParaRPr lang="fr-FR"/>
          </a:p>
        </p:txBody>
      </p:sp>
      <p:sp>
        <p:nvSpPr>
          <p:cNvPr id="11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E7B1AB0-5838-4A0A-BA1E-89A0B30053BC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641CF51-116F-4744-83A2-018D73E248B5}"/>
              </a:ext>
            </a:extLst>
          </p:cNvPr>
          <p:cNvSpPr txBox="1"/>
          <p:nvPr userDrawn="1"/>
        </p:nvSpPr>
        <p:spPr>
          <a:xfrm>
            <a:off x="2574524" y="604878"/>
            <a:ext cx="6063449" cy="4462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fr-FR" sz="2900">
                <a:solidFill>
                  <a:srgbClr val="9796A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MMAIRE</a:t>
            </a:r>
          </a:p>
        </p:txBody>
      </p:sp>
    </p:spTree>
    <p:extLst>
      <p:ext uri="{BB962C8B-B14F-4D97-AF65-F5344CB8AC3E}">
        <p14:creationId xmlns:p14="http://schemas.microsoft.com/office/powerpoint/2010/main" val="6982217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0097C2"/>
                </a:solidFill>
              </a:defRPr>
            </a:lvl1pPr>
          </a:lstStyle>
          <a:p>
            <a:r>
              <a:rPr lang="fr-FR" noProof="0"/>
              <a:t>Réduction des coûts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6425BB5B-FD90-4051-A6C6-A7349C830F76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9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0097C2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7A597B04-FB9F-4DCC-A6B2-3FF2581BFB49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5F75E03-8EF4-4499-BBB4-107A47589BED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TextBox 18">
            <a:extLst>
              <a:ext uri="{FF2B5EF4-FFF2-40B4-BE49-F238E27FC236}">
                <a16:creationId xmlns:a16="http://schemas.microsoft.com/office/drawing/2014/main" id="{99FEDBFD-B1FD-452B-8592-8196C2BE792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367CE0-8E3F-494C-8357-9FDD88A18491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8905E030-DBD2-4F18-B23E-81219077DED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TextBox 18">
            <a:extLst>
              <a:ext uri="{FF2B5EF4-FFF2-40B4-BE49-F238E27FC236}">
                <a16:creationId xmlns:a16="http://schemas.microsoft.com/office/drawing/2014/main" id="{50F24CED-E011-4E59-836E-B0BDBB8D105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TextBox 18">
            <a:extLst>
              <a:ext uri="{FF2B5EF4-FFF2-40B4-BE49-F238E27FC236}">
                <a16:creationId xmlns:a16="http://schemas.microsoft.com/office/drawing/2014/main" id="{278057EA-4C94-4A67-8098-EFD4F34F5F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6" name="TextBox 18">
            <a:extLst>
              <a:ext uri="{FF2B5EF4-FFF2-40B4-BE49-F238E27FC236}">
                <a16:creationId xmlns:a16="http://schemas.microsoft.com/office/drawing/2014/main" id="{E4D33CC6-7D59-4637-AFE4-34221BE6F9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7" name="Espace réservé du texte 3">
            <a:extLst>
              <a:ext uri="{FF2B5EF4-FFF2-40B4-BE49-F238E27FC236}">
                <a16:creationId xmlns:a16="http://schemas.microsoft.com/office/drawing/2014/main" id="{60D06F10-4CF8-4514-8277-DDA66C52031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</p:spTree>
    <p:extLst>
      <p:ext uri="{BB962C8B-B14F-4D97-AF65-F5344CB8AC3E}">
        <p14:creationId xmlns:p14="http://schemas.microsoft.com/office/powerpoint/2010/main" val="32882524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1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4" name="Object 21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Image 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gray">
          <a:xfrm>
            <a:off x="1" y="0"/>
            <a:ext cx="1919817" cy="14470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Image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gray">
          <a:xfrm>
            <a:off x="0" y="6318250"/>
            <a:ext cx="12192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09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9" name="Object 209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Espace réservé du texte 4"/>
          <p:cNvSpPr>
            <a:spLocks noGrp="1"/>
          </p:cNvSpPr>
          <p:nvPr>
            <p:ph type="body" sz="quarter" idx="13"/>
          </p:nvPr>
        </p:nvSpPr>
        <p:spPr bwMode="gray">
          <a:xfrm>
            <a:off x="2615142" y="413691"/>
            <a:ext cx="9408583" cy="11525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90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1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7" name="Espace réservé du contenu 6"/>
          <p:cNvSpPr>
            <a:spLocks noGrp="1"/>
          </p:cNvSpPr>
          <p:nvPr>
            <p:ph sz="quarter" idx="14"/>
          </p:nvPr>
        </p:nvSpPr>
        <p:spPr bwMode="gray">
          <a:xfrm>
            <a:off x="1876868" y="1890389"/>
            <a:ext cx="9935633" cy="410368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</a:lstStyle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10" name="Espace réservé de la date 10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FFFFFF">
                    <a:alpha val="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2C3E305-0635-42A8-B9BE-9B1CD089FF07}" type="datetime1">
              <a:rPr lang="en-GB" smtClean="0"/>
              <a:t>14/02/2024</a:t>
            </a:fld>
            <a:endParaRPr lang="fr-FR"/>
          </a:p>
        </p:txBody>
      </p:sp>
      <p:sp>
        <p:nvSpPr>
          <p:cNvPr id="11" name="Espace réservé du numéro de diapositive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E7B1AB0-5838-4A0A-BA1E-89A0B30053BC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2633200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6240463" y="3429001"/>
            <a:ext cx="5435600" cy="2671548"/>
          </a:xfrm>
        </p:spPr>
        <p:txBody>
          <a:bodyPr lIns="72000" rIns="72000">
            <a:noAutofit/>
          </a:bodyPr>
          <a:lstStyle>
            <a:lvl1pPr marL="0" indent="0" algn="l">
              <a:buNone/>
              <a:defRPr sz="2000" b="1">
                <a:solidFill>
                  <a:schemeClr val="accent2"/>
                </a:solidFill>
                <a:latin typeface="Avenir LT Std 55 Roman" panose="020B05030202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240463" y="1808163"/>
            <a:ext cx="5435600" cy="1441449"/>
          </a:xfrm>
        </p:spPr>
        <p:txBody>
          <a:bodyPr lIns="72000" rIns="72000" anchor="b">
            <a:noAutofit/>
          </a:bodyPr>
          <a:lstStyle>
            <a:lvl1pPr algn="l">
              <a:defRPr sz="3200">
                <a:latin typeface="AntagometricaBTW01-Bold" panose="020B0806020202040206" pitchFamily="34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7193321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3"/>
          </p:nvPr>
        </p:nvSpPr>
        <p:spPr>
          <a:xfrm>
            <a:off x="3701386" y="1"/>
            <a:ext cx="8466851" cy="5924549"/>
          </a:xfrm>
          <a:custGeom>
            <a:avLst/>
            <a:gdLst>
              <a:gd name="connsiteX0" fmla="*/ 486575 w 8466851"/>
              <a:gd name="connsiteY0" fmla="*/ 0 h 6089535"/>
              <a:gd name="connsiteX1" fmla="*/ 8466851 w 8466851"/>
              <a:gd name="connsiteY1" fmla="*/ 0 h 6089535"/>
              <a:gd name="connsiteX2" fmla="*/ 8466851 w 8466851"/>
              <a:gd name="connsiteY2" fmla="*/ 6084784 h 6089535"/>
              <a:gd name="connsiteX3" fmla="*/ 1729749 w 8466851"/>
              <a:gd name="connsiteY3" fmla="*/ 3315080 h 6089535"/>
              <a:gd name="connsiteX4" fmla="*/ 486575 w 8466851"/>
              <a:gd name="connsiteY4" fmla="*/ 0 h 60895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66851" h="6089535">
                <a:moveTo>
                  <a:pt x="486575" y="0"/>
                </a:moveTo>
                <a:lnTo>
                  <a:pt x="8466851" y="0"/>
                </a:lnTo>
                <a:lnTo>
                  <a:pt x="8466851" y="6084784"/>
                </a:lnTo>
                <a:cubicBezTo>
                  <a:pt x="2204964" y="6205353"/>
                  <a:pt x="4668306" y="3997365"/>
                  <a:pt x="1729749" y="3315080"/>
                </a:cubicBezTo>
                <a:cubicBezTo>
                  <a:pt x="-1208808" y="2632796"/>
                  <a:pt x="486575" y="0"/>
                  <a:pt x="486575" y="0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bg1"/>
            </a:bgClr>
          </a:pattFill>
          <a:effectLst>
            <a:outerShdw blurRad="50800" dist="50800" dir="8100000" algn="ctr" rotWithShape="0">
              <a:srgbClr val="000000">
                <a:alpha val="5000"/>
              </a:srgbClr>
            </a:outerShdw>
          </a:effectLst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2" name="Titre 1"/>
          <p:cNvSpPr>
            <a:spLocks noGrp="1"/>
          </p:cNvSpPr>
          <p:nvPr>
            <p:ph type="ctrTitle" hasCustomPrompt="1"/>
          </p:nvPr>
        </p:nvSpPr>
        <p:spPr>
          <a:xfrm>
            <a:off x="479425" y="3587750"/>
            <a:ext cx="7782670" cy="1620837"/>
          </a:xfrm>
        </p:spPr>
        <p:txBody>
          <a:bodyPr lIns="72000" rIns="72000" anchor="b">
            <a:noAutofit/>
          </a:bodyPr>
          <a:lstStyle>
            <a:lvl1pPr algn="l">
              <a:defRPr sz="3200">
                <a:solidFill>
                  <a:schemeClr val="accent2"/>
                </a:solidFill>
                <a:latin typeface="AntagometricaBTW01-Bold" panose="020B0806020202040206" pitchFamily="34" charset="0"/>
              </a:defRPr>
            </a:lvl1pPr>
          </a:lstStyle>
          <a:p>
            <a:r>
              <a:rPr lang="fr-FR"/>
              <a:t>Modifiez le style du titre</a:t>
            </a:r>
            <a:br>
              <a:rPr lang="fr-FR"/>
            </a:br>
            <a:r>
              <a:rPr lang="fr-FR"/>
              <a:t>sur 2 lignes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 hasCustomPrompt="1"/>
          </p:nvPr>
        </p:nvSpPr>
        <p:spPr>
          <a:xfrm>
            <a:off x="479425" y="5274047"/>
            <a:ext cx="7782669" cy="963242"/>
          </a:xfrm>
        </p:spPr>
        <p:txBody>
          <a:bodyPr lIns="72000" rIns="72000">
            <a:noAutofit/>
          </a:bodyPr>
          <a:lstStyle>
            <a:lvl1pPr marL="0" indent="0" algn="l">
              <a:buNone/>
              <a:defRPr sz="2000">
                <a:solidFill>
                  <a:schemeClr val="accent2"/>
                </a:solidFill>
                <a:latin typeface="Avenir LT Std 55 Roman" panose="020B0503020203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14" name="Espace réservé du texte 14"/>
          <p:cNvSpPr>
            <a:spLocks noGrp="1"/>
          </p:cNvSpPr>
          <p:nvPr>
            <p:ph type="body" sz="quarter" idx="15" hasCustomPrompt="1"/>
          </p:nvPr>
        </p:nvSpPr>
        <p:spPr>
          <a:xfrm>
            <a:off x="171311" y="0"/>
            <a:ext cx="2166095" cy="1814513"/>
          </a:xfrm>
        </p:spPr>
        <p:txBody>
          <a:bodyPr anchor="ctr" anchorCtr="0"/>
          <a:lstStyle>
            <a:lvl1pPr marL="0" indent="0" algn="ctr">
              <a:buNone/>
              <a:defRPr sz="9600">
                <a:solidFill>
                  <a:schemeClr val="accent2"/>
                </a:solidFill>
                <a:latin typeface="AntagometricaBTW01-Bold" panose="020B0806020202040206" pitchFamily="34" charset="0"/>
              </a:defRPr>
            </a:lvl1pPr>
          </a:lstStyle>
          <a:p>
            <a:pPr lvl="0"/>
            <a:r>
              <a:rPr lang="fr-FR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414254717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67176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92658" y="85147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336306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pour une image  11"/>
          <p:cNvSpPr>
            <a:spLocks noGrp="1"/>
          </p:cNvSpPr>
          <p:nvPr>
            <p:ph type="pic" sz="quarter" idx="14"/>
          </p:nvPr>
        </p:nvSpPr>
        <p:spPr>
          <a:xfrm>
            <a:off x="6240462" y="83130"/>
            <a:ext cx="5951538" cy="6773815"/>
          </a:xfrm>
          <a:custGeom>
            <a:avLst/>
            <a:gdLst>
              <a:gd name="connsiteX0" fmla="*/ 4444534 w 5951538"/>
              <a:gd name="connsiteY0" fmla="*/ 81 h 6773815"/>
              <a:gd name="connsiteX1" fmla="*/ 5951538 w 5951538"/>
              <a:gd name="connsiteY1" fmla="*/ 389278 h 6773815"/>
              <a:gd name="connsiteX2" fmla="*/ 5951538 w 5951538"/>
              <a:gd name="connsiteY2" fmla="*/ 6773815 h 6773815"/>
              <a:gd name="connsiteX3" fmla="*/ 4644 w 5951538"/>
              <a:gd name="connsiteY3" fmla="*/ 6773815 h 6773815"/>
              <a:gd name="connsiteX4" fmla="*/ 2711582 w 5951538"/>
              <a:gd name="connsiteY4" fmla="*/ 1383867 h 6773815"/>
              <a:gd name="connsiteX5" fmla="*/ 4444534 w 5951538"/>
              <a:gd name="connsiteY5" fmla="*/ 81 h 6773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51538" h="6773815">
                <a:moveTo>
                  <a:pt x="4444534" y="81"/>
                </a:moveTo>
                <a:cubicBezTo>
                  <a:pt x="5225332" y="6474"/>
                  <a:pt x="5951538" y="389278"/>
                  <a:pt x="5951538" y="389278"/>
                </a:cubicBezTo>
                <a:lnTo>
                  <a:pt x="5951538" y="6773815"/>
                </a:lnTo>
                <a:lnTo>
                  <a:pt x="4644" y="6773815"/>
                </a:lnTo>
                <a:cubicBezTo>
                  <a:pt x="-113193" y="1764057"/>
                  <a:pt x="2044759" y="3734829"/>
                  <a:pt x="2711582" y="1383867"/>
                </a:cubicBezTo>
                <a:cubicBezTo>
                  <a:pt x="3024155" y="281854"/>
                  <a:pt x="3755596" y="-5560"/>
                  <a:pt x="4444534" y="81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479424" y="6267449"/>
            <a:ext cx="5325199" cy="365125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79425" y="225426"/>
            <a:ext cx="8420735" cy="1016538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08163"/>
            <a:ext cx="5472113" cy="4284662"/>
          </a:xfrm>
        </p:spPr>
        <p:txBody>
          <a:bodyPr lIns="72000" rIns="72000"/>
          <a:lstStyle>
            <a:lvl1pPr>
              <a:buClr>
                <a:schemeClr val="accent2"/>
              </a:buCl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88632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GAUCHE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pour une image  8"/>
          <p:cNvSpPr>
            <a:spLocks noGrp="1"/>
          </p:cNvSpPr>
          <p:nvPr>
            <p:ph type="pic" sz="quarter" idx="13"/>
          </p:nvPr>
        </p:nvSpPr>
        <p:spPr>
          <a:xfrm>
            <a:off x="0" y="1202409"/>
            <a:ext cx="5951537" cy="4921511"/>
          </a:xfrm>
          <a:custGeom>
            <a:avLst/>
            <a:gdLst>
              <a:gd name="connsiteX0" fmla="*/ 0 w 5951537"/>
              <a:gd name="connsiteY0" fmla="*/ 0 h 4921511"/>
              <a:gd name="connsiteX1" fmla="*/ 482920 w 5951537"/>
              <a:gd name="connsiteY1" fmla="*/ 630788 h 4921511"/>
              <a:gd name="connsiteX2" fmla="*/ 3405670 w 5951537"/>
              <a:gd name="connsiteY2" fmla="*/ 1062658 h 4921511"/>
              <a:gd name="connsiteX3" fmla="*/ 5929996 w 5951537"/>
              <a:gd name="connsiteY3" fmla="*/ 1449933 h 4921511"/>
              <a:gd name="connsiteX4" fmla="*/ 5454118 w 5951537"/>
              <a:gd name="connsiteY4" fmla="*/ 3376331 h 4921511"/>
              <a:gd name="connsiteX5" fmla="*/ 4823330 w 5951537"/>
              <a:gd name="connsiteY5" fmla="*/ 4882008 h 4921511"/>
              <a:gd name="connsiteX6" fmla="*/ 1491007 w 5951537"/>
              <a:gd name="connsiteY6" fmla="*/ 4494733 h 4921511"/>
              <a:gd name="connsiteX7" fmla="*/ 0 w 5951537"/>
              <a:gd name="connsiteY7" fmla="*/ 4572188 h 4921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951537" h="4921511">
                <a:moveTo>
                  <a:pt x="0" y="0"/>
                </a:moveTo>
                <a:cubicBezTo>
                  <a:pt x="0" y="0"/>
                  <a:pt x="319795" y="495829"/>
                  <a:pt x="482920" y="630788"/>
                </a:cubicBezTo>
                <a:cubicBezTo>
                  <a:pt x="482920" y="630788"/>
                  <a:pt x="1390668" y="1594281"/>
                  <a:pt x="3405670" y="1062658"/>
                </a:cubicBezTo>
                <a:cubicBezTo>
                  <a:pt x="5420672" y="531036"/>
                  <a:pt x="6084906" y="697094"/>
                  <a:pt x="5929996" y="1449933"/>
                </a:cubicBezTo>
                <a:cubicBezTo>
                  <a:pt x="5775087" y="2202771"/>
                  <a:pt x="4800445" y="2468582"/>
                  <a:pt x="5454118" y="3376331"/>
                </a:cubicBezTo>
                <a:cubicBezTo>
                  <a:pt x="6107791" y="4284079"/>
                  <a:pt x="5819682" y="5114372"/>
                  <a:pt x="4823330" y="4882008"/>
                </a:cubicBezTo>
                <a:cubicBezTo>
                  <a:pt x="3826978" y="4649643"/>
                  <a:pt x="2730873" y="3719597"/>
                  <a:pt x="1491007" y="4494733"/>
                </a:cubicBezTo>
                <a:cubicBezTo>
                  <a:pt x="251142" y="5269869"/>
                  <a:pt x="0" y="4572188"/>
                  <a:pt x="0" y="4572188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101653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6254318" y="1808163"/>
            <a:ext cx="5435600" cy="976312"/>
          </a:xfrm>
        </p:spPr>
        <p:txBody>
          <a:bodyPr/>
          <a:lstStyle>
            <a:lvl1pPr>
              <a:defRPr lang="fr-FR" dirty="0" smtClean="0"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6254318" y="2891175"/>
            <a:ext cx="5435600" cy="976312"/>
          </a:xfrm>
        </p:spPr>
        <p:txBody>
          <a:bodyPr/>
          <a:lstStyle>
            <a:lvl1pPr>
              <a:defRPr lang="fr-FR" dirty="0" smtClean="0"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254318" y="3974187"/>
            <a:ext cx="5435600" cy="976312"/>
          </a:xfrm>
        </p:spPr>
        <p:txBody>
          <a:bodyPr/>
          <a:lstStyle>
            <a:lvl1pPr>
              <a:defRPr lang="fr-FR" dirty="0" smtClean="0"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254318" y="5057200"/>
            <a:ext cx="5435600" cy="976312"/>
          </a:xfrm>
        </p:spPr>
        <p:txBody>
          <a:bodyPr/>
          <a:lstStyle>
            <a:lvl1pPr>
              <a:defRPr lang="fr-FR" dirty="0" smtClean="0"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589922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101653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486920" y="1808163"/>
            <a:ext cx="11189144" cy="4284662"/>
          </a:xfrm>
        </p:spPr>
        <p:txBody>
          <a:bodyPr lIns="72000" rIns="72000"/>
          <a:lstStyle>
            <a:lvl1pPr>
              <a:buClr>
                <a:schemeClr val="accent2"/>
              </a:buCl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51950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U UNIQU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exte 8"/>
          <p:cNvSpPr>
            <a:spLocks noGrp="1"/>
          </p:cNvSpPr>
          <p:nvPr>
            <p:ph type="body" sz="quarter" idx="13" hasCustomPrompt="1"/>
          </p:nvPr>
        </p:nvSpPr>
        <p:spPr>
          <a:xfrm>
            <a:off x="486920" y="719528"/>
            <a:ext cx="11189144" cy="5373297"/>
          </a:xfrm>
        </p:spPr>
        <p:txBody>
          <a:bodyPr lIns="72000" rIns="72000"/>
          <a:lstStyle>
            <a:lvl1pPr>
              <a:buClr>
                <a:schemeClr val="accent2"/>
              </a:buCl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1158917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8" name="Espace réservé du titre 1"/>
          <p:cNvSpPr>
            <a:spLocks noGrp="1"/>
          </p:cNvSpPr>
          <p:nvPr>
            <p:ph type="title"/>
          </p:nvPr>
        </p:nvSpPr>
        <p:spPr>
          <a:xfrm>
            <a:off x="486717" y="225426"/>
            <a:ext cx="11189345" cy="1016538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3" hasCustomPrompt="1"/>
          </p:nvPr>
        </p:nvSpPr>
        <p:spPr>
          <a:xfrm>
            <a:off x="487363" y="1641951"/>
            <a:ext cx="5464175" cy="4284662"/>
          </a:xfrm>
        </p:spPr>
        <p:txBody>
          <a:bodyPr/>
          <a:lstStyle>
            <a:lvl1pPr>
              <a:defRPr>
                <a:latin typeface="Avenir LT Std 55 Roman" panose="020B0503020203020204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14" hasCustomPrompt="1"/>
          </p:nvPr>
        </p:nvSpPr>
        <p:spPr>
          <a:xfrm>
            <a:off x="6239770" y="1641951"/>
            <a:ext cx="5436293" cy="4284662"/>
          </a:xfrm>
        </p:spPr>
        <p:txBody>
          <a:bodyPr/>
          <a:lstStyle>
            <a:lvl1pPr>
              <a:defRPr>
                <a:latin typeface="Avenir LT Std 55 Roman" panose="020B0503020203020204" pitchFamily="34" charset="0"/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755667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9" name="Espace réservé du texte 2"/>
          <p:cNvSpPr>
            <a:spLocks noGrp="1"/>
          </p:cNvSpPr>
          <p:nvPr>
            <p:ph idx="1" hasCustomPrompt="1"/>
          </p:nvPr>
        </p:nvSpPr>
        <p:spPr>
          <a:xfrm>
            <a:off x="486717" y="465826"/>
            <a:ext cx="5464821" cy="5626999"/>
          </a:xfrm>
          <a:prstGeom prst="rect">
            <a:avLst/>
          </a:prstGeom>
        </p:spPr>
        <p:txBody>
          <a:bodyPr vert="horz" lIns="72000" tIns="45720" rIns="90000" bIns="45720" rtlCol="0" anchor="t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10" name="Espace réservé du texte 2"/>
          <p:cNvSpPr>
            <a:spLocks noGrp="1"/>
          </p:cNvSpPr>
          <p:nvPr>
            <p:ph idx="13" hasCustomPrompt="1"/>
          </p:nvPr>
        </p:nvSpPr>
        <p:spPr>
          <a:xfrm>
            <a:off x="6251412" y="465826"/>
            <a:ext cx="5424651" cy="5626999"/>
          </a:xfrm>
          <a:prstGeom prst="rect">
            <a:avLst/>
          </a:prstGeom>
        </p:spPr>
        <p:txBody>
          <a:bodyPr vert="horz" lIns="72000" tIns="45720" rIns="90000" bIns="45720" rtlCol="0" anchor="t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866329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0097C2"/>
                </a:solidFill>
              </a:defRPr>
            </a:lvl1pPr>
          </a:lstStyle>
          <a:p>
            <a:r>
              <a:rPr lang="fr-FR" noProof="0"/>
              <a:t>Réduction des coûts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1148165C-5E09-4C7E-9003-C97407ACE8FA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9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0097C2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7A597B04-FB9F-4DCC-A6B2-3FF2581BFB49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65F75E03-8EF4-4499-BBB4-107A47589BED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TextBox 18">
            <a:extLst>
              <a:ext uri="{FF2B5EF4-FFF2-40B4-BE49-F238E27FC236}">
                <a16:creationId xmlns:a16="http://schemas.microsoft.com/office/drawing/2014/main" id="{99FEDBFD-B1FD-452B-8592-8196C2BE792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6367CE0-8E3F-494C-8357-9FDD88A18491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8905E030-DBD2-4F18-B23E-81219077DED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TextBox 18">
            <a:extLst>
              <a:ext uri="{FF2B5EF4-FFF2-40B4-BE49-F238E27FC236}">
                <a16:creationId xmlns:a16="http://schemas.microsoft.com/office/drawing/2014/main" id="{50F24CED-E011-4E59-836E-B0BDBB8D105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TextBox 18">
            <a:extLst>
              <a:ext uri="{FF2B5EF4-FFF2-40B4-BE49-F238E27FC236}">
                <a16:creationId xmlns:a16="http://schemas.microsoft.com/office/drawing/2014/main" id="{278057EA-4C94-4A67-8098-EFD4F34F5F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6" name="TextBox 18">
            <a:extLst>
              <a:ext uri="{FF2B5EF4-FFF2-40B4-BE49-F238E27FC236}">
                <a16:creationId xmlns:a16="http://schemas.microsoft.com/office/drawing/2014/main" id="{E4D33CC6-7D59-4637-AFE4-34221BE6F97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7" name="Espace réservé du texte 3">
            <a:extLst>
              <a:ext uri="{FF2B5EF4-FFF2-40B4-BE49-F238E27FC236}">
                <a16:creationId xmlns:a16="http://schemas.microsoft.com/office/drawing/2014/main" id="{60D06F10-4CF8-4514-8277-DDA66C52031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F729A9BD-2C0D-4BB1-8CDA-FA410F88A300}"/>
              </a:ext>
            </a:extLst>
          </p:cNvPr>
          <p:cNvSpPr/>
          <p:nvPr userDrawn="1"/>
        </p:nvSpPr>
        <p:spPr>
          <a:xfrm>
            <a:off x="3967839" y="1696357"/>
            <a:ext cx="3237902" cy="1932110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5" name="TextBox 18">
            <a:extLst>
              <a:ext uri="{FF2B5EF4-FFF2-40B4-BE49-F238E27FC236}">
                <a16:creationId xmlns:a16="http://schemas.microsoft.com/office/drawing/2014/main" id="{83E0998E-B680-4D6D-9843-B6A10410999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FCC1EFCB-02F2-4D7C-86F8-9F2F5B676403}"/>
              </a:ext>
            </a:extLst>
          </p:cNvPr>
          <p:cNvSpPr/>
          <p:nvPr userDrawn="1"/>
        </p:nvSpPr>
        <p:spPr>
          <a:xfrm>
            <a:off x="3956986" y="4478739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7" name="TextBox 18">
            <a:extLst>
              <a:ext uri="{FF2B5EF4-FFF2-40B4-BE49-F238E27FC236}">
                <a16:creationId xmlns:a16="http://schemas.microsoft.com/office/drawing/2014/main" id="{A2D3EF09-6090-491B-8A94-F763ECD48B9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4391171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8" name="Espace réservé du texte 3">
            <a:extLst>
              <a:ext uri="{FF2B5EF4-FFF2-40B4-BE49-F238E27FC236}">
                <a16:creationId xmlns:a16="http://schemas.microsoft.com/office/drawing/2014/main" id="{AA51EFB8-2798-4DFE-BC94-5AE13DE13CC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4"/>
            <a:ext cx="3007642" cy="1688854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F74D59A2-D03D-40BD-AD3F-9D7EF04B7636}"/>
              </a:ext>
            </a:extLst>
          </p:cNvPr>
          <p:cNvSpPr/>
          <p:nvPr userDrawn="1"/>
        </p:nvSpPr>
        <p:spPr>
          <a:xfrm>
            <a:off x="3967839" y="3814185"/>
            <a:ext cx="3236847" cy="456080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0" name="TextBox 18">
            <a:extLst>
              <a:ext uri="{FF2B5EF4-FFF2-40B4-BE49-F238E27FC236}">
                <a16:creationId xmlns:a16="http://schemas.microsoft.com/office/drawing/2014/main" id="{6223B3FC-3CB4-4EED-95F1-93EFD5605C9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3763253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1" name="Espace réservé du texte 3">
            <a:extLst>
              <a:ext uri="{FF2B5EF4-FFF2-40B4-BE49-F238E27FC236}">
                <a16:creationId xmlns:a16="http://schemas.microsoft.com/office/drawing/2014/main" id="{779A91A6-C1AA-4647-BF0E-5C99CE959C06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096378" y="3966203"/>
            <a:ext cx="3007642" cy="228874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</p:spTree>
    <p:extLst>
      <p:ext uri="{BB962C8B-B14F-4D97-AF65-F5344CB8AC3E}">
        <p14:creationId xmlns:p14="http://schemas.microsoft.com/office/powerpoint/2010/main" val="6524531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EN TÊ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2453670"/>
          </a:xfrm>
          <a:custGeom>
            <a:avLst/>
            <a:gdLst>
              <a:gd name="connsiteX0" fmla="*/ 0 w 12192000"/>
              <a:gd name="connsiteY0" fmla="*/ 0 h 2453670"/>
              <a:gd name="connsiteX1" fmla="*/ 12192000 w 12192000"/>
              <a:gd name="connsiteY1" fmla="*/ 0 h 2453670"/>
              <a:gd name="connsiteX2" fmla="*/ 12192000 w 12192000"/>
              <a:gd name="connsiteY2" fmla="*/ 2321164 h 2453670"/>
              <a:gd name="connsiteX3" fmla="*/ 4019838 w 12192000"/>
              <a:gd name="connsiteY3" fmla="*/ 1357366 h 2453670"/>
              <a:gd name="connsiteX4" fmla="*/ 1616656 w 12192000"/>
              <a:gd name="connsiteY4" fmla="*/ 2108726 h 2453670"/>
              <a:gd name="connsiteX5" fmla="*/ 0 w 12192000"/>
              <a:gd name="connsiteY5" fmla="*/ 1492096 h 24536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2453670">
                <a:moveTo>
                  <a:pt x="0" y="0"/>
                </a:moveTo>
                <a:lnTo>
                  <a:pt x="12192000" y="0"/>
                </a:lnTo>
                <a:lnTo>
                  <a:pt x="12192000" y="2321164"/>
                </a:lnTo>
                <a:cubicBezTo>
                  <a:pt x="9034993" y="2870148"/>
                  <a:pt x="5498978" y="1548001"/>
                  <a:pt x="4019838" y="1357366"/>
                </a:cubicBezTo>
                <a:cubicBezTo>
                  <a:pt x="2540699" y="1166731"/>
                  <a:pt x="2894552" y="2108726"/>
                  <a:pt x="1616656" y="2108726"/>
                </a:cubicBezTo>
                <a:cubicBezTo>
                  <a:pt x="338760" y="2108726"/>
                  <a:pt x="0" y="1492096"/>
                  <a:pt x="0" y="1492096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bg1"/>
            </a:bgClr>
          </a:pattFill>
          <a:effectLst>
            <a:outerShdw blurRad="50800" dist="50800" dir="8100000" algn="ctr" rotWithShape="0">
              <a:srgbClr val="000000">
                <a:alpha val="5000"/>
              </a:srgbClr>
            </a:outerShdw>
          </a:effectLst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479424" y="2963726"/>
            <a:ext cx="5448664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4544332"/>
            <a:ext cx="5448664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6240463" y="2963726"/>
            <a:ext cx="5435600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4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6240463" y="4544332"/>
            <a:ext cx="5435600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5" name="Espace réservé du titre 1"/>
          <p:cNvSpPr>
            <a:spLocks noGrp="1"/>
          </p:cNvSpPr>
          <p:nvPr>
            <p:ph type="title"/>
          </p:nvPr>
        </p:nvSpPr>
        <p:spPr>
          <a:xfrm>
            <a:off x="479424" y="225426"/>
            <a:ext cx="11196639" cy="970820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5277474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101653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>
          <a:xfrm>
            <a:off x="4175918" y="2250281"/>
            <a:ext cx="3840163" cy="2357437"/>
          </a:xfr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0" name="Espace réservé du texte 10"/>
          <p:cNvSpPr>
            <a:spLocks noGrp="1"/>
          </p:cNvSpPr>
          <p:nvPr>
            <p:ph type="body" sz="quarter" idx="14" hasCustomPrompt="1"/>
          </p:nvPr>
        </p:nvSpPr>
        <p:spPr>
          <a:xfrm>
            <a:off x="479424" y="1808163"/>
            <a:ext cx="3365182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1" name="Espace réservé du texte 10"/>
          <p:cNvSpPr>
            <a:spLocks noGrp="1"/>
          </p:cNvSpPr>
          <p:nvPr>
            <p:ph type="body" sz="quarter" idx="15" hasCustomPrompt="1"/>
          </p:nvPr>
        </p:nvSpPr>
        <p:spPr>
          <a:xfrm>
            <a:off x="479424" y="4965460"/>
            <a:ext cx="3365182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2" name="Espace réservé du texte 10"/>
          <p:cNvSpPr>
            <a:spLocks noGrp="1"/>
          </p:cNvSpPr>
          <p:nvPr>
            <p:ph type="body" sz="quarter" idx="16" hasCustomPrompt="1"/>
          </p:nvPr>
        </p:nvSpPr>
        <p:spPr>
          <a:xfrm>
            <a:off x="8310880" y="1808163"/>
            <a:ext cx="3365182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  <p:sp>
        <p:nvSpPr>
          <p:cNvPr id="13" name="Espace réservé du texte 10"/>
          <p:cNvSpPr>
            <a:spLocks noGrp="1"/>
          </p:cNvSpPr>
          <p:nvPr>
            <p:ph type="body" sz="quarter" idx="17" hasCustomPrompt="1"/>
          </p:nvPr>
        </p:nvSpPr>
        <p:spPr>
          <a:xfrm>
            <a:off x="8310880" y="4965460"/>
            <a:ext cx="3365182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167418399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101653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597396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ÉQU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pour une image  10"/>
          <p:cNvSpPr>
            <a:spLocks noGrp="1"/>
          </p:cNvSpPr>
          <p:nvPr>
            <p:ph type="pic" sz="quarter" idx="13"/>
          </p:nvPr>
        </p:nvSpPr>
        <p:spPr>
          <a:xfrm>
            <a:off x="1572353" y="2050756"/>
            <a:ext cx="1857600" cy="1857600"/>
          </a:xfrm>
          <a:custGeom>
            <a:avLst/>
            <a:gdLst>
              <a:gd name="connsiteX0" fmla="*/ 928800 w 1857600"/>
              <a:gd name="connsiteY0" fmla="*/ 0 h 1857600"/>
              <a:gd name="connsiteX1" fmla="*/ 1857600 w 1857600"/>
              <a:gd name="connsiteY1" fmla="*/ 928800 h 1857600"/>
              <a:gd name="connsiteX2" fmla="*/ 928800 w 1857600"/>
              <a:gd name="connsiteY2" fmla="*/ 1857600 h 1857600"/>
              <a:gd name="connsiteX3" fmla="*/ 0 w 1857600"/>
              <a:gd name="connsiteY3" fmla="*/ 928800 h 1857600"/>
              <a:gd name="connsiteX4" fmla="*/ 928800 w 1857600"/>
              <a:gd name="connsiteY4" fmla="*/ 0 h 18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7600" h="1857600">
                <a:moveTo>
                  <a:pt x="928800" y="0"/>
                </a:moveTo>
                <a:cubicBezTo>
                  <a:pt x="1441762" y="0"/>
                  <a:pt x="1857600" y="415838"/>
                  <a:pt x="1857600" y="928800"/>
                </a:cubicBezTo>
                <a:cubicBezTo>
                  <a:pt x="1857600" y="1441762"/>
                  <a:pt x="1441762" y="1857600"/>
                  <a:pt x="928800" y="1857600"/>
                </a:cubicBezTo>
                <a:cubicBezTo>
                  <a:pt x="415838" y="1857600"/>
                  <a:pt x="0" y="1441762"/>
                  <a:pt x="0" y="928800"/>
                </a:cubicBezTo>
                <a:cubicBezTo>
                  <a:pt x="0" y="415838"/>
                  <a:pt x="415838" y="0"/>
                  <a:pt x="928800" y="0"/>
                </a:cubicBez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97081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12" name="Espace réservé pour une image  11"/>
          <p:cNvSpPr>
            <a:spLocks noGrp="1"/>
          </p:cNvSpPr>
          <p:nvPr>
            <p:ph type="pic" sz="quarter" idx="14"/>
          </p:nvPr>
        </p:nvSpPr>
        <p:spPr>
          <a:xfrm>
            <a:off x="5167200" y="2050755"/>
            <a:ext cx="1857600" cy="1857600"/>
          </a:xfrm>
          <a:custGeom>
            <a:avLst/>
            <a:gdLst>
              <a:gd name="connsiteX0" fmla="*/ 928800 w 1857600"/>
              <a:gd name="connsiteY0" fmla="*/ 0 h 1857600"/>
              <a:gd name="connsiteX1" fmla="*/ 1857600 w 1857600"/>
              <a:gd name="connsiteY1" fmla="*/ 928800 h 1857600"/>
              <a:gd name="connsiteX2" fmla="*/ 928800 w 1857600"/>
              <a:gd name="connsiteY2" fmla="*/ 1857600 h 1857600"/>
              <a:gd name="connsiteX3" fmla="*/ 0 w 1857600"/>
              <a:gd name="connsiteY3" fmla="*/ 928800 h 1857600"/>
              <a:gd name="connsiteX4" fmla="*/ 928800 w 1857600"/>
              <a:gd name="connsiteY4" fmla="*/ 0 h 18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7600" h="1857600">
                <a:moveTo>
                  <a:pt x="928800" y="0"/>
                </a:moveTo>
                <a:cubicBezTo>
                  <a:pt x="1441762" y="0"/>
                  <a:pt x="1857600" y="415838"/>
                  <a:pt x="1857600" y="928800"/>
                </a:cubicBezTo>
                <a:cubicBezTo>
                  <a:pt x="1857600" y="1441762"/>
                  <a:pt x="1441762" y="1857600"/>
                  <a:pt x="928800" y="1857600"/>
                </a:cubicBezTo>
                <a:cubicBezTo>
                  <a:pt x="415838" y="1857600"/>
                  <a:pt x="0" y="1441762"/>
                  <a:pt x="0" y="928800"/>
                </a:cubicBezTo>
                <a:cubicBezTo>
                  <a:pt x="0" y="415838"/>
                  <a:pt x="415838" y="0"/>
                  <a:pt x="928800" y="0"/>
                </a:cubicBez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3" name="Espace réservé pour une image  12"/>
          <p:cNvSpPr>
            <a:spLocks noGrp="1"/>
          </p:cNvSpPr>
          <p:nvPr>
            <p:ph type="pic" sz="quarter" idx="15"/>
          </p:nvPr>
        </p:nvSpPr>
        <p:spPr>
          <a:xfrm>
            <a:off x="8762047" y="2050755"/>
            <a:ext cx="1857600" cy="1857600"/>
          </a:xfrm>
          <a:custGeom>
            <a:avLst/>
            <a:gdLst>
              <a:gd name="connsiteX0" fmla="*/ 928800 w 1857600"/>
              <a:gd name="connsiteY0" fmla="*/ 0 h 1857600"/>
              <a:gd name="connsiteX1" fmla="*/ 1857600 w 1857600"/>
              <a:gd name="connsiteY1" fmla="*/ 928800 h 1857600"/>
              <a:gd name="connsiteX2" fmla="*/ 928800 w 1857600"/>
              <a:gd name="connsiteY2" fmla="*/ 1857600 h 1857600"/>
              <a:gd name="connsiteX3" fmla="*/ 0 w 1857600"/>
              <a:gd name="connsiteY3" fmla="*/ 928800 h 1857600"/>
              <a:gd name="connsiteX4" fmla="*/ 928800 w 1857600"/>
              <a:gd name="connsiteY4" fmla="*/ 0 h 1857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57600" h="1857600">
                <a:moveTo>
                  <a:pt x="928800" y="0"/>
                </a:moveTo>
                <a:cubicBezTo>
                  <a:pt x="1441762" y="0"/>
                  <a:pt x="1857600" y="415838"/>
                  <a:pt x="1857600" y="928800"/>
                </a:cubicBezTo>
                <a:cubicBezTo>
                  <a:pt x="1857600" y="1441762"/>
                  <a:pt x="1441762" y="1857600"/>
                  <a:pt x="928800" y="1857600"/>
                </a:cubicBezTo>
                <a:cubicBezTo>
                  <a:pt x="415838" y="1857600"/>
                  <a:pt x="0" y="1441762"/>
                  <a:pt x="0" y="928800"/>
                </a:cubicBezTo>
                <a:cubicBezTo>
                  <a:pt x="0" y="415838"/>
                  <a:pt x="415838" y="0"/>
                  <a:pt x="928800" y="0"/>
                </a:cubicBezTo>
                <a:close/>
              </a:path>
            </a:pathLst>
          </a:custGeo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333213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ICON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101653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sz="quarter" idx="13"/>
          </p:nvPr>
        </p:nvSpPr>
        <p:spPr>
          <a:xfrm>
            <a:off x="486717" y="2429499"/>
            <a:ext cx="3511550" cy="2706687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9" name="Espace réservé pour une image  2"/>
          <p:cNvSpPr>
            <a:spLocks noGrp="1"/>
          </p:cNvSpPr>
          <p:nvPr>
            <p:ph type="pic" sz="quarter" idx="14"/>
          </p:nvPr>
        </p:nvSpPr>
        <p:spPr>
          <a:xfrm>
            <a:off x="4325717" y="2429499"/>
            <a:ext cx="3511550" cy="2706687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0" name="Espace réservé pour une image  2"/>
          <p:cNvSpPr>
            <a:spLocks noGrp="1"/>
          </p:cNvSpPr>
          <p:nvPr>
            <p:ph type="pic" sz="quarter" idx="15"/>
          </p:nvPr>
        </p:nvSpPr>
        <p:spPr>
          <a:xfrm>
            <a:off x="8164513" y="2429498"/>
            <a:ext cx="3511550" cy="2706687"/>
          </a:xfrm>
          <a:pattFill prst="pct10">
            <a:fgClr>
              <a:schemeClr val="accent1"/>
            </a:fgClr>
            <a:bgClr>
              <a:schemeClr val="bg1"/>
            </a:bgClr>
          </a:pattFill>
        </p:spPr>
        <p:txBody>
          <a:bodyPr/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339801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443556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raphique 4">
            <a:extLst>
              <a:ext uri="{FF2B5EF4-FFF2-40B4-BE49-F238E27FC236}">
                <a16:creationId xmlns:a16="http://schemas.microsoft.com/office/drawing/2014/main" id="{3DE141F5-291A-4C42-9A9E-0BED29FF0A5B}"/>
              </a:ext>
            </a:extLst>
          </p:cNvPr>
          <p:cNvSpPr/>
          <p:nvPr userDrawn="1"/>
        </p:nvSpPr>
        <p:spPr>
          <a:xfrm rot="21199967">
            <a:off x="2889272" y="1392237"/>
            <a:ext cx="6408648" cy="5106504"/>
          </a:xfrm>
          <a:custGeom>
            <a:avLst/>
            <a:gdLst>
              <a:gd name="connsiteX0" fmla="*/ 656503 w 6411835"/>
              <a:gd name="connsiteY0" fmla="*/ 1242849 h 5106504"/>
              <a:gd name="connsiteX1" fmla="*/ 2002086 w 6411835"/>
              <a:gd name="connsiteY1" fmla="*/ 201449 h 5106504"/>
              <a:gd name="connsiteX2" fmla="*/ 4236262 w 6411835"/>
              <a:gd name="connsiteY2" fmla="*/ 925349 h 5106504"/>
              <a:gd name="connsiteX3" fmla="*/ 6013447 w 6411835"/>
              <a:gd name="connsiteY3" fmla="*/ 2550949 h 5106504"/>
              <a:gd name="connsiteX4" fmla="*/ 5873811 w 6411835"/>
              <a:gd name="connsiteY4" fmla="*/ 4951249 h 5106504"/>
              <a:gd name="connsiteX5" fmla="*/ 3004926 w 6411835"/>
              <a:gd name="connsiteY5" fmla="*/ 4240049 h 5106504"/>
              <a:gd name="connsiteX6" fmla="*/ 161431 w 6411835"/>
              <a:gd name="connsiteY6" fmla="*/ 3630449 h 5106504"/>
              <a:gd name="connsiteX7" fmla="*/ 656503 w 6411835"/>
              <a:gd name="connsiteY7" fmla="*/ 1242849 h 51065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11835" h="5106504">
                <a:moveTo>
                  <a:pt x="656503" y="1242849"/>
                </a:moveTo>
                <a:cubicBezTo>
                  <a:pt x="656503" y="1242849"/>
                  <a:pt x="618421" y="-598651"/>
                  <a:pt x="2002086" y="201449"/>
                </a:cubicBezTo>
                <a:cubicBezTo>
                  <a:pt x="3385752" y="1001549"/>
                  <a:pt x="3411140" y="1141249"/>
                  <a:pt x="4236262" y="925349"/>
                </a:cubicBezTo>
                <a:cubicBezTo>
                  <a:pt x="5061383" y="709449"/>
                  <a:pt x="7320947" y="722149"/>
                  <a:pt x="6013447" y="2550949"/>
                </a:cubicBezTo>
                <a:cubicBezTo>
                  <a:pt x="4705946" y="4379749"/>
                  <a:pt x="6432355" y="4405149"/>
                  <a:pt x="5873811" y="4951249"/>
                </a:cubicBezTo>
                <a:cubicBezTo>
                  <a:pt x="5315267" y="5497349"/>
                  <a:pt x="4997912" y="4443249"/>
                  <a:pt x="3004926" y="4240049"/>
                </a:cubicBezTo>
                <a:cubicBezTo>
                  <a:pt x="1011940" y="4036849"/>
                  <a:pt x="-511361" y="4913149"/>
                  <a:pt x="161431" y="3630449"/>
                </a:cubicBezTo>
                <a:cubicBezTo>
                  <a:pt x="834222" y="2347749"/>
                  <a:pt x="796139" y="2766849"/>
                  <a:pt x="656503" y="1242849"/>
                </a:cubicBezTo>
                <a:close/>
              </a:path>
            </a:pathLst>
          </a:custGeom>
          <a:solidFill>
            <a:schemeClr val="accent4"/>
          </a:solidFill>
          <a:ln w="6874" cap="flat">
            <a:noFill/>
            <a:prstDash val="solid"/>
            <a:miter/>
          </a:ln>
        </p:spPr>
        <p:txBody>
          <a:bodyPr rtlCol="0" anchor="ctr"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EC697015-FBAF-FD45-8F97-1BAC5FCA85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32F38D7-3852-5845-9EE1-AA94E8C1F6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Espace réservé du titre 1">
            <a:extLst>
              <a:ext uri="{FF2B5EF4-FFF2-40B4-BE49-F238E27FC236}">
                <a16:creationId xmlns:a16="http://schemas.microsoft.com/office/drawing/2014/main" id="{F017D8F1-A4E1-1E41-B699-9821FEED78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6920" y="225425"/>
            <a:ext cx="11189144" cy="1016539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FE7C0E5-CF1E-BA4C-B229-FAA1DB3BC3AA}"/>
              </a:ext>
            </a:extLst>
          </p:cNvPr>
          <p:cNvSpPr/>
          <p:nvPr userDrawn="1"/>
        </p:nvSpPr>
        <p:spPr>
          <a:xfrm>
            <a:off x="392658" y="1196245"/>
            <a:ext cx="412972" cy="45719"/>
          </a:xfrm>
          <a:prstGeom prst="rect">
            <a:avLst/>
          </a:prstGeom>
          <a:solidFill>
            <a:srgbClr val="F9B200"/>
          </a:solidFill>
          <a:ln>
            <a:solidFill>
              <a:srgbClr val="F9B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space réservé pour une image  15">
            <a:extLst>
              <a:ext uri="{FF2B5EF4-FFF2-40B4-BE49-F238E27FC236}">
                <a16:creationId xmlns:a16="http://schemas.microsoft.com/office/drawing/2014/main" id="{68205990-DC0E-4833-99E1-8071D512ED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200580" y="1788186"/>
            <a:ext cx="1784936" cy="3892266"/>
          </a:xfrm>
          <a:custGeom>
            <a:avLst/>
            <a:gdLst>
              <a:gd name="connsiteX0" fmla="*/ 213206 w 2152720"/>
              <a:gd name="connsiteY0" fmla="*/ 0 h 4694263"/>
              <a:gd name="connsiteX1" fmla="*/ 950241 w 2152720"/>
              <a:gd name="connsiteY1" fmla="*/ 0 h 4694263"/>
              <a:gd name="connsiteX2" fmla="*/ 950241 w 2152720"/>
              <a:gd name="connsiteY2" fmla="*/ 37934 h 4694263"/>
              <a:gd name="connsiteX3" fmla="*/ 950240 w 2152720"/>
              <a:gd name="connsiteY3" fmla="*/ 37938 h 4694263"/>
              <a:gd name="connsiteX4" fmla="*/ 950241 w 2152720"/>
              <a:gd name="connsiteY4" fmla="*/ 37942 h 4694263"/>
              <a:gd name="connsiteX5" fmla="*/ 950241 w 2152720"/>
              <a:gd name="connsiteY5" fmla="*/ 43685 h 4694263"/>
              <a:gd name="connsiteX6" fmla="*/ 951400 w 2152720"/>
              <a:gd name="connsiteY6" fmla="*/ 43685 h 4694263"/>
              <a:gd name="connsiteX7" fmla="*/ 960382 w 2152720"/>
              <a:gd name="connsiteY7" fmla="*/ 88171 h 4694263"/>
              <a:gd name="connsiteX8" fmla="*/ 1079293 w 2152720"/>
              <a:gd name="connsiteY8" fmla="*/ 166991 h 4694263"/>
              <a:gd name="connsiteX9" fmla="*/ 1198205 w 2152720"/>
              <a:gd name="connsiteY9" fmla="*/ 88171 h 4694263"/>
              <a:gd name="connsiteX10" fmla="*/ 1207186 w 2152720"/>
              <a:gd name="connsiteY10" fmla="*/ 43685 h 4694263"/>
              <a:gd name="connsiteX11" fmla="*/ 1208347 w 2152720"/>
              <a:gd name="connsiteY11" fmla="*/ 43685 h 4694263"/>
              <a:gd name="connsiteX12" fmla="*/ 1208347 w 2152720"/>
              <a:gd name="connsiteY12" fmla="*/ 37938 h 4694263"/>
              <a:gd name="connsiteX13" fmla="*/ 1208347 w 2152720"/>
              <a:gd name="connsiteY13" fmla="*/ 0 h 4694263"/>
              <a:gd name="connsiteX14" fmla="*/ 1939514 w 2152720"/>
              <a:gd name="connsiteY14" fmla="*/ 0 h 4694263"/>
              <a:gd name="connsiteX15" fmla="*/ 2152720 w 2152720"/>
              <a:gd name="connsiteY15" fmla="*/ 213206 h 4694263"/>
              <a:gd name="connsiteX16" fmla="*/ 2152720 w 2152720"/>
              <a:gd name="connsiteY16" fmla="*/ 4481057 h 4694263"/>
              <a:gd name="connsiteX17" fmla="*/ 1939514 w 2152720"/>
              <a:gd name="connsiteY17" fmla="*/ 4694263 h 4694263"/>
              <a:gd name="connsiteX18" fmla="*/ 213206 w 2152720"/>
              <a:gd name="connsiteY18" fmla="*/ 4694263 h 4694263"/>
              <a:gd name="connsiteX19" fmla="*/ 0 w 2152720"/>
              <a:gd name="connsiteY19" fmla="*/ 4481057 h 4694263"/>
              <a:gd name="connsiteX20" fmla="*/ 0 w 2152720"/>
              <a:gd name="connsiteY20" fmla="*/ 213206 h 4694263"/>
              <a:gd name="connsiteX21" fmla="*/ 213206 w 2152720"/>
              <a:gd name="connsiteY21" fmla="*/ 0 h 4694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152720" h="4694263">
                <a:moveTo>
                  <a:pt x="213206" y="0"/>
                </a:moveTo>
                <a:lnTo>
                  <a:pt x="950241" y="0"/>
                </a:lnTo>
                <a:lnTo>
                  <a:pt x="950241" y="37934"/>
                </a:lnTo>
                <a:lnTo>
                  <a:pt x="950240" y="37938"/>
                </a:lnTo>
                <a:lnTo>
                  <a:pt x="950241" y="37942"/>
                </a:lnTo>
                <a:lnTo>
                  <a:pt x="950241" y="43685"/>
                </a:lnTo>
                <a:lnTo>
                  <a:pt x="951400" y="43685"/>
                </a:lnTo>
                <a:lnTo>
                  <a:pt x="960382" y="88171"/>
                </a:lnTo>
                <a:cubicBezTo>
                  <a:pt x="979973" y="134490"/>
                  <a:pt x="1025838" y="166991"/>
                  <a:pt x="1079293" y="166991"/>
                </a:cubicBezTo>
                <a:cubicBezTo>
                  <a:pt x="1132748" y="166991"/>
                  <a:pt x="1178613" y="134490"/>
                  <a:pt x="1198205" y="88171"/>
                </a:cubicBezTo>
                <a:lnTo>
                  <a:pt x="1207186" y="43685"/>
                </a:lnTo>
                <a:lnTo>
                  <a:pt x="1208347" y="43685"/>
                </a:lnTo>
                <a:lnTo>
                  <a:pt x="1208347" y="37938"/>
                </a:lnTo>
                <a:lnTo>
                  <a:pt x="1208347" y="0"/>
                </a:lnTo>
                <a:lnTo>
                  <a:pt x="1939514" y="0"/>
                </a:lnTo>
                <a:cubicBezTo>
                  <a:pt x="2057265" y="0"/>
                  <a:pt x="2152720" y="95456"/>
                  <a:pt x="2152720" y="213206"/>
                </a:cubicBezTo>
                <a:lnTo>
                  <a:pt x="2152720" y="4481057"/>
                </a:lnTo>
                <a:cubicBezTo>
                  <a:pt x="2152720" y="4598808"/>
                  <a:pt x="2057265" y="4694263"/>
                  <a:pt x="1939514" y="4694263"/>
                </a:cubicBezTo>
                <a:lnTo>
                  <a:pt x="213206" y="4694263"/>
                </a:lnTo>
                <a:cubicBezTo>
                  <a:pt x="95456" y="4694263"/>
                  <a:pt x="0" y="4598808"/>
                  <a:pt x="0" y="4481057"/>
                </a:cubicBezTo>
                <a:lnTo>
                  <a:pt x="0" y="213206"/>
                </a:lnTo>
                <a:cubicBezTo>
                  <a:pt x="0" y="95456"/>
                  <a:pt x="95456" y="0"/>
                  <a:pt x="213206" y="0"/>
                </a:cubicBezTo>
                <a:close/>
              </a:path>
            </a:pathLst>
          </a:custGeom>
          <a:pattFill prst="ltDnDiag">
            <a:fgClr>
              <a:schemeClr val="accent1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r>
              <a:rPr lang="fr-FR"/>
              <a:t>Cliquez sur l'icône pour ajouter une image</a:t>
            </a:r>
          </a:p>
        </p:txBody>
      </p:sp>
      <p:sp>
        <p:nvSpPr>
          <p:cNvPr id="10" name="Espace réservé du texte 10">
            <a:extLst>
              <a:ext uri="{FF2B5EF4-FFF2-40B4-BE49-F238E27FC236}">
                <a16:creationId xmlns:a16="http://schemas.microsoft.com/office/drawing/2014/main" id="{3ECCA7D3-2FE7-5C43-8D5E-4FBD3839C9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4" y="1808163"/>
            <a:ext cx="3365182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66BFE68B-4430-1F4B-9343-CB9D9D3CFBD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79424" y="4965460"/>
            <a:ext cx="3365182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2" name="Espace réservé du texte 10">
            <a:extLst>
              <a:ext uri="{FF2B5EF4-FFF2-40B4-BE49-F238E27FC236}">
                <a16:creationId xmlns:a16="http://schemas.microsoft.com/office/drawing/2014/main" id="{E3FC759B-B637-324B-92CB-FB728D2ACF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10880" y="1808163"/>
            <a:ext cx="3365182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13" name="Espace réservé du texte 10">
            <a:extLst>
              <a:ext uri="{FF2B5EF4-FFF2-40B4-BE49-F238E27FC236}">
                <a16:creationId xmlns:a16="http://schemas.microsoft.com/office/drawing/2014/main" id="{39DF6B8D-CF1C-5B4A-97A0-2E0FBEC6B82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10880" y="4965460"/>
            <a:ext cx="3365182" cy="11334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989567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7"/>
            <a:ext cx="3237902" cy="1932110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478739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4391171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4"/>
            <a:ext cx="3007642" cy="1688854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0097C2"/>
                </a:solidFill>
              </a:defRPr>
            </a:lvl1pPr>
          </a:lstStyle>
          <a:p>
            <a:r>
              <a:rPr lang="fr-FR" noProof="0"/>
              <a:t>Réduction des coûts avec budget partenariat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C32BAE74-26A1-410C-8478-C7CA6538057D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9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0097C2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7A597B04-FB9F-4DCC-A6B2-3FF2581BFB49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B80C98D-CDC4-4642-A936-D7F6DF1D9E50}"/>
              </a:ext>
            </a:extLst>
          </p:cNvPr>
          <p:cNvSpPr/>
          <p:nvPr userDrawn="1"/>
        </p:nvSpPr>
        <p:spPr>
          <a:xfrm>
            <a:off x="3967839" y="3814185"/>
            <a:ext cx="3236847" cy="456080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5" name="TextBox 18">
            <a:extLst>
              <a:ext uri="{FF2B5EF4-FFF2-40B4-BE49-F238E27FC236}">
                <a16:creationId xmlns:a16="http://schemas.microsoft.com/office/drawing/2014/main" id="{E3650162-44E6-4475-953E-1AD2871628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3763253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6" name="Espace réservé du texte 3">
            <a:extLst>
              <a:ext uri="{FF2B5EF4-FFF2-40B4-BE49-F238E27FC236}">
                <a16:creationId xmlns:a16="http://schemas.microsoft.com/office/drawing/2014/main" id="{AEB6DD6B-81D5-49AE-9D87-5EE2851D7F0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096378" y="3966203"/>
            <a:ext cx="3007642" cy="228874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97" name="TextBox 18">
            <a:extLst>
              <a:ext uri="{FF2B5EF4-FFF2-40B4-BE49-F238E27FC236}">
                <a16:creationId xmlns:a16="http://schemas.microsoft.com/office/drawing/2014/main" id="{E714EDD5-7355-466E-A174-D05CE43ED7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9" name="Espace réservé du texte 3">
            <a:extLst>
              <a:ext uri="{FF2B5EF4-FFF2-40B4-BE49-F238E27FC236}">
                <a16:creationId xmlns:a16="http://schemas.microsoft.com/office/drawing/2014/main" id="{8EAF0640-7F06-4F4A-894A-33543EDD4860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8664965" y="6175074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400" b="1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</p:spTree>
    <p:extLst>
      <p:ext uri="{BB962C8B-B14F-4D97-AF65-F5344CB8AC3E}">
        <p14:creationId xmlns:p14="http://schemas.microsoft.com/office/powerpoint/2010/main" val="1969401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91" name="Image 90">
            <a:extLst>
              <a:ext uri="{FF2B5EF4-FFF2-40B4-BE49-F238E27FC236}">
                <a16:creationId xmlns:a16="http://schemas.microsoft.com/office/drawing/2014/main" id="{5B06480A-5741-45F5-99C8-F7B92278DE8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4928" y="590273"/>
            <a:ext cx="11790371" cy="550803"/>
          </a:xfrm>
          <a:prstGeom prst="rect">
            <a:avLst/>
          </a:prstGeom>
          <a:pattFill prst="pct5">
            <a:fgClr>
              <a:schemeClr val="accent1"/>
            </a:fgClr>
            <a:bgClr>
              <a:schemeClr val="bg1"/>
            </a:bgClr>
          </a:pattFill>
          <a:ln>
            <a:noFill/>
          </a:ln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1932111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478740"/>
            <a:ext cx="3236847" cy="1944056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4394100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168885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0097C2"/>
                </a:solidFill>
              </a:defRPr>
            </a:lvl1pPr>
          </a:lstStyle>
          <a:p>
            <a:r>
              <a:rPr lang="fr-FR" noProof="0"/>
              <a:t>Réduction des coûts avec budget partenariat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E8899B6D-BF93-4845-B209-987C682045D5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97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0097C2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72" name="ZoneTexte 71">
            <a:extLst>
              <a:ext uri="{FF2B5EF4-FFF2-40B4-BE49-F238E27FC236}">
                <a16:creationId xmlns:a16="http://schemas.microsoft.com/office/drawing/2014/main" id="{7A597B04-FB9F-4DCC-A6B2-3FF2581BFB49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7B80C98D-CDC4-4642-A936-D7F6DF1D9E50}"/>
              </a:ext>
            </a:extLst>
          </p:cNvPr>
          <p:cNvSpPr/>
          <p:nvPr userDrawn="1"/>
        </p:nvSpPr>
        <p:spPr>
          <a:xfrm>
            <a:off x="3967839" y="3805780"/>
            <a:ext cx="3236847" cy="496155"/>
          </a:xfrm>
          <a:prstGeom prst="rect">
            <a:avLst/>
          </a:prstGeom>
          <a:noFill/>
          <a:ln w="25400" cap="flat" cmpd="sng" algn="ctr">
            <a:solidFill>
              <a:srgbClr val="0097C2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5" name="TextBox 18">
            <a:extLst>
              <a:ext uri="{FF2B5EF4-FFF2-40B4-BE49-F238E27FC236}">
                <a16:creationId xmlns:a16="http://schemas.microsoft.com/office/drawing/2014/main" id="{E3650162-44E6-4475-953E-1AD28716288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7985" y="3721412"/>
            <a:ext cx="190093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 de partenaria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6" name="Espace réservé du texte 3">
            <a:extLst>
              <a:ext uri="{FF2B5EF4-FFF2-40B4-BE49-F238E27FC236}">
                <a16:creationId xmlns:a16="http://schemas.microsoft.com/office/drawing/2014/main" id="{AEB6DD6B-81D5-49AE-9D87-5EE2851D7F0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4096378" y="3924361"/>
            <a:ext cx="3007642" cy="313635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97" name="TextBox 18">
            <a:extLst>
              <a:ext uri="{FF2B5EF4-FFF2-40B4-BE49-F238E27FC236}">
                <a16:creationId xmlns:a16="http://schemas.microsoft.com/office/drawing/2014/main" id="{EE0856E3-14C7-437A-966B-FFDAE524574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9" name="Espace réservé du texte 3">
            <a:extLst>
              <a:ext uri="{FF2B5EF4-FFF2-40B4-BE49-F238E27FC236}">
                <a16:creationId xmlns:a16="http://schemas.microsoft.com/office/drawing/2014/main" id="{4FB3CB80-9034-4B0E-9CA9-DCDD8B58CEE2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664965" y="6175074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400" b="1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</p:spTree>
    <p:extLst>
      <p:ext uri="{BB962C8B-B14F-4D97-AF65-F5344CB8AC3E}">
        <p14:creationId xmlns:p14="http://schemas.microsoft.com/office/powerpoint/2010/main" val="1118949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6266B46E-EF58-4D20-8FB2-1437A7E19239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0219EC92-A410-4A99-AB75-155F4B8A371A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5" name="TextBox 18">
            <a:extLst>
              <a:ext uri="{FF2B5EF4-FFF2-40B4-BE49-F238E27FC236}">
                <a16:creationId xmlns:a16="http://schemas.microsoft.com/office/drawing/2014/main" id="{57CE5081-98DA-4EEC-AF29-C74F025986B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9B4E82DF-1821-4757-92F0-379B6584F4C7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67FDB563-C92A-47D0-9E76-3417A961543D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21566E9B-008C-411E-80FD-3B21ECBDCC57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F07AB97-4712-438A-9F7A-4C2B769D579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7" name="TextBox 18">
            <a:extLst>
              <a:ext uri="{FF2B5EF4-FFF2-40B4-BE49-F238E27FC236}">
                <a16:creationId xmlns:a16="http://schemas.microsoft.com/office/drawing/2014/main" id="{478C637E-3E53-4514-9C55-46DB07366EA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0" name="TextBox 18">
            <a:extLst>
              <a:ext uri="{FF2B5EF4-FFF2-40B4-BE49-F238E27FC236}">
                <a16:creationId xmlns:a16="http://schemas.microsoft.com/office/drawing/2014/main" id="{E9E4A525-196F-4AD4-B291-7EC9F45662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3" name="TextBox 18">
            <a:extLst>
              <a:ext uri="{FF2B5EF4-FFF2-40B4-BE49-F238E27FC236}">
                <a16:creationId xmlns:a16="http://schemas.microsoft.com/office/drawing/2014/main" id="{8936FFAD-1F73-478F-9AA3-271EFA2E2FF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6" name="Espace réservé du texte 53">
            <a:extLst>
              <a:ext uri="{FF2B5EF4-FFF2-40B4-BE49-F238E27FC236}">
                <a16:creationId xmlns:a16="http://schemas.microsoft.com/office/drawing/2014/main" id="{56AB55C1-FD51-4EED-9BBE-34BA7B41CC9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7" name="Espace réservé du texte 63">
            <a:extLst>
              <a:ext uri="{FF2B5EF4-FFF2-40B4-BE49-F238E27FC236}">
                <a16:creationId xmlns:a16="http://schemas.microsoft.com/office/drawing/2014/main" id="{A5F8445C-E700-4C35-B342-F84C529675E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21D535FB-0196-4640-98F0-A524690EEED5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19" name="TextBox 18">
            <a:extLst>
              <a:ext uri="{FF2B5EF4-FFF2-40B4-BE49-F238E27FC236}">
                <a16:creationId xmlns:a16="http://schemas.microsoft.com/office/drawing/2014/main" id="{8F9E798F-6FD0-4EE9-8992-7DCBA09E50F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0" name="TextBox 18">
            <a:extLst>
              <a:ext uri="{FF2B5EF4-FFF2-40B4-BE49-F238E27FC236}">
                <a16:creationId xmlns:a16="http://schemas.microsoft.com/office/drawing/2014/main" id="{96EB8FE7-1255-4420-B0FF-B69C05C42DB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1" name="Rectangle 120">
            <a:extLst>
              <a:ext uri="{FF2B5EF4-FFF2-40B4-BE49-F238E27FC236}">
                <a16:creationId xmlns:a16="http://schemas.microsoft.com/office/drawing/2014/main" id="{B9855DD5-7483-4042-A1A9-0C9ACB6CC905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22" name="Espace réservé du texte 55">
            <a:extLst>
              <a:ext uri="{FF2B5EF4-FFF2-40B4-BE49-F238E27FC236}">
                <a16:creationId xmlns:a16="http://schemas.microsoft.com/office/drawing/2014/main" id="{671B9DF0-7BE7-4DB3-8914-9D53EC9D1E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3" name="TextBox 18">
            <a:extLst>
              <a:ext uri="{FF2B5EF4-FFF2-40B4-BE49-F238E27FC236}">
                <a16:creationId xmlns:a16="http://schemas.microsoft.com/office/drawing/2014/main" id="{FE988428-CCBC-4C3A-A7CF-0E5C58A2DFA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24" name="Espace réservé du texte 3">
            <a:extLst>
              <a:ext uri="{FF2B5EF4-FFF2-40B4-BE49-F238E27FC236}">
                <a16:creationId xmlns:a16="http://schemas.microsoft.com/office/drawing/2014/main" id="{7E7E12C8-A4C8-49AE-9708-2CCF8E24DE5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125" name="Rounded Rectangle 4">
            <a:extLst>
              <a:ext uri="{FF2B5EF4-FFF2-40B4-BE49-F238E27FC236}">
                <a16:creationId xmlns:a16="http://schemas.microsoft.com/office/drawing/2014/main" id="{B759274E-F771-409C-8B71-5940E1E87EBB}"/>
              </a:ext>
            </a:extLst>
          </p:cNvPr>
          <p:cNvSpPr/>
          <p:nvPr userDrawn="1"/>
        </p:nvSpPr>
        <p:spPr>
          <a:xfrm>
            <a:off x="460181" y="1798864"/>
            <a:ext cx="1111197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 Pilote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6" name="Rounded Rectangle 4">
            <a:extLst>
              <a:ext uri="{FF2B5EF4-FFF2-40B4-BE49-F238E27FC236}">
                <a16:creationId xmlns:a16="http://schemas.microsoft.com/office/drawing/2014/main" id="{7A0C6711-5333-4B77-AE86-A4942C28962A}"/>
              </a:ext>
            </a:extLst>
          </p:cNvPr>
          <p:cNvSpPr/>
          <p:nvPr userDrawn="1"/>
        </p:nvSpPr>
        <p:spPr>
          <a:xfrm>
            <a:off x="460182" y="2019908"/>
            <a:ext cx="1111196" cy="178203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Référen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27" name="Espace réservé du texte 5">
            <a:extLst>
              <a:ext uri="{FF2B5EF4-FFF2-40B4-BE49-F238E27FC236}">
                <a16:creationId xmlns:a16="http://schemas.microsoft.com/office/drawing/2014/main" id="{5FC2E80D-02D4-4BD0-8986-546A0591F2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614797" y="1797068"/>
            <a:ext cx="2142714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8" name="Espace réservé du texte 46">
            <a:extLst>
              <a:ext uri="{FF2B5EF4-FFF2-40B4-BE49-F238E27FC236}">
                <a16:creationId xmlns:a16="http://schemas.microsoft.com/office/drawing/2014/main" id="{7314C463-0E46-4B43-A6C1-716B3FE1440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614795" y="2050167"/>
            <a:ext cx="2142715" cy="178203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129" name="Espace réservé du texte 48">
            <a:extLst>
              <a:ext uri="{FF2B5EF4-FFF2-40B4-BE49-F238E27FC236}">
                <a16:creationId xmlns:a16="http://schemas.microsoft.com/office/drawing/2014/main" id="{CCE1A205-2180-42C7-A085-503075C9D89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614795" y="2303266"/>
            <a:ext cx="2142716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30" name="Rounded Rectangle 4">
            <a:extLst>
              <a:ext uri="{FF2B5EF4-FFF2-40B4-BE49-F238E27FC236}">
                <a16:creationId xmlns:a16="http://schemas.microsoft.com/office/drawing/2014/main" id="{35D1C47F-90FB-41D8-AE8A-05F56AE89AE1}"/>
              </a:ext>
            </a:extLst>
          </p:cNvPr>
          <p:cNvSpPr/>
          <p:nvPr userDrawn="1"/>
        </p:nvSpPr>
        <p:spPr>
          <a:xfrm>
            <a:off x="460182" y="2240952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31" name="Espace réservé du texte 5">
            <a:extLst>
              <a:ext uri="{FF2B5EF4-FFF2-40B4-BE49-F238E27FC236}">
                <a16:creationId xmlns:a16="http://schemas.microsoft.com/office/drawing/2014/main" id="{20BCEDE0-C407-4AF6-AA52-7F9ADB25D3F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C84FBAF9-55E6-4057-B647-F17F69C59A46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3" name="Espace réservé du texte 15">
            <a:extLst>
              <a:ext uri="{FF2B5EF4-FFF2-40B4-BE49-F238E27FC236}">
                <a16:creationId xmlns:a16="http://schemas.microsoft.com/office/drawing/2014/main" id="{DBA26628-C05A-44A2-AF04-540268261FE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EFEE18CE-6750-4C73-B201-375F8EB05554}"/>
              </a:ext>
            </a:extLst>
          </p:cNvPr>
          <p:cNvSpPr/>
          <p:nvPr userDrawn="1"/>
        </p:nvSpPr>
        <p:spPr>
          <a:xfrm>
            <a:off x="391870" y="3611227"/>
            <a:ext cx="3411107" cy="2157141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35" name="TextBox 18">
            <a:extLst>
              <a:ext uri="{FF2B5EF4-FFF2-40B4-BE49-F238E27FC236}">
                <a16:creationId xmlns:a16="http://schemas.microsoft.com/office/drawing/2014/main" id="{F466512C-0876-4D57-A5EE-D7F26CA61C5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52365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6" name="Rounded Rectangle 4">
            <a:extLst>
              <a:ext uri="{FF2B5EF4-FFF2-40B4-BE49-F238E27FC236}">
                <a16:creationId xmlns:a16="http://schemas.microsoft.com/office/drawing/2014/main" id="{98D10DBC-9946-4735-83D5-2DD9AE94ADEA}"/>
              </a:ext>
            </a:extLst>
          </p:cNvPr>
          <p:cNvSpPr/>
          <p:nvPr userDrawn="1"/>
        </p:nvSpPr>
        <p:spPr>
          <a:xfrm>
            <a:off x="1831147" y="351359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37" name="Espace réservé du texte 4">
            <a:extLst>
              <a:ext uri="{FF2B5EF4-FFF2-40B4-BE49-F238E27FC236}">
                <a16:creationId xmlns:a16="http://schemas.microsoft.com/office/drawing/2014/main" id="{417FC46A-24C1-49E8-8F70-29E94B0E68E9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499412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38" name="TextBox 18">
            <a:extLst>
              <a:ext uri="{FF2B5EF4-FFF2-40B4-BE49-F238E27FC236}">
                <a16:creationId xmlns:a16="http://schemas.microsoft.com/office/drawing/2014/main" id="{58E541E7-48C0-413E-8232-60A0816252A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39" name="Rounded Rectangle 4">
            <a:extLst>
              <a:ext uri="{FF2B5EF4-FFF2-40B4-BE49-F238E27FC236}">
                <a16:creationId xmlns:a16="http://schemas.microsoft.com/office/drawing/2014/main" id="{0955A8EF-0A8D-47F7-A29F-6519E93AA6AE}"/>
              </a:ext>
            </a:extLst>
          </p:cNvPr>
          <p:cNvSpPr/>
          <p:nvPr userDrawn="1"/>
        </p:nvSpPr>
        <p:spPr>
          <a:xfrm>
            <a:off x="460182" y="2648707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0" name="Espace réservé du texte 48">
            <a:extLst>
              <a:ext uri="{FF2B5EF4-FFF2-40B4-BE49-F238E27FC236}">
                <a16:creationId xmlns:a16="http://schemas.microsoft.com/office/drawing/2014/main" id="{C69D035D-C98B-4565-AA63-A5C760A0CCF3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614793" y="2687311"/>
            <a:ext cx="2142717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4274EF81-0B2D-4921-B7AC-04556DAD1693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2" name="TextBox 18">
            <a:extLst>
              <a:ext uri="{FF2B5EF4-FFF2-40B4-BE49-F238E27FC236}">
                <a16:creationId xmlns:a16="http://schemas.microsoft.com/office/drawing/2014/main" id="{CC880D5F-51AD-46AF-97CE-1D626EF13C0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43" name="Espace réservé du texte 15">
            <a:extLst>
              <a:ext uri="{FF2B5EF4-FFF2-40B4-BE49-F238E27FC236}">
                <a16:creationId xmlns:a16="http://schemas.microsoft.com/office/drawing/2014/main" id="{70EAE5F5-7C77-48D2-8EA7-8A024BC57FBB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44" name="Espace réservé du texte 15">
            <a:extLst>
              <a:ext uri="{FF2B5EF4-FFF2-40B4-BE49-F238E27FC236}">
                <a16:creationId xmlns:a16="http://schemas.microsoft.com/office/drawing/2014/main" id="{CF27FCA6-F77B-41AC-89E0-D177A5FA385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45" name="TextBox 18">
            <a:extLst>
              <a:ext uri="{FF2B5EF4-FFF2-40B4-BE49-F238E27FC236}">
                <a16:creationId xmlns:a16="http://schemas.microsoft.com/office/drawing/2014/main" id="{12ACC1C0-1C2C-41EC-AC1E-D737607501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6" name="Rounded Rectangle 4">
            <a:extLst>
              <a:ext uri="{FF2B5EF4-FFF2-40B4-BE49-F238E27FC236}">
                <a16:creationId xmlns:a16="http://schemas.microsoft.com/office/drawing/2014/main" id="{CE13DC5A-B20A-4D25-B25B-195FA94410F2}"/>
              </a:ext>
            </a:extLst>
          </p:cNvPr>
          <p:cNvSpPr/>
          <p:nvPr userDrawn="1"/>
        </p:nvSpPr>
        <p:spPr>
          <a:xfrm>
            <a:off x="460182" y="3056460"/>
            <a:ext cx="1111196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147" name="Espace réservé du texte 48">
            <a:extLst>
              <a:ext uri="{FF2B5EF4-FFF2-40B4-BE49-F238E27FC236}">
                <a16:creationId xmlns:a16="http://schemas.microsoft.com/office/drawing/2014/main" id="{B472CB94-B4C3-45D6-B931-33A98E34436C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614793" y="3071357"/>
            <a:ext cx="2142718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148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7F95DB18-B608-4F71-A2DC-01F32D5958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9" name="Rectangle 148">
            <a:extLst>
              <a:ext uri="{FF2B5EF4-FFF2-40B4-BE49-F238E27FC236}">
                <a16:creationId xmlns:a16="http://schemas.microsoft.com/office/drawing/2014/main" id="{53CF335F-3844-44B6-8B28-FC8CD41FC48A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id="{9CBBCDF9-F4FC-43D1-A373-43FFC461E715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041DCE78-AB6F-442E-834D-7FB45DD65773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52" name="TextBox 18">
            <a:extLst>
              <a:ext uri="{FF2B5EF4-FFF2-40B4-BE49-F238E27FC236}">
                <a16:creationId xmlns:a16="http://schemas.microsoft.com/office/drawing/2014/main" id="{25F89CDB-12EA-48D8-BC38-89CD84666F0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3" name="TextBox 18">
            <a:extLst>
              <a:ext uri="{FF2B5EF4-FFF2-40B4-BE49-F238E27FC236}">
                <a16:creationId xmlns:a16="http://schemas.microsoft.com/office/drawing/2014/main" id="{724375BC-E0F6-4E04-A4F2-C0FA6C5F069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54" name="TextBox 18">
            <a:extLst>
              <a:ext uri="{FF2B5EF4-FFF2-40B4-BE49-F238E27FC236}">
                <a16:creationId xmlns:a16="http://schemas.microsoft.com/office/drawing/2014/main" id="{E8D88A36-B772-4904-AB5E-9D9E642FEE7F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155" name="Picture 6" descr="Icône calendrier, avec, une, horloge, temps, outils">
            <a:extLst>
              <a:ext uri="{FF2B5EF4-FFF2-40B4-BE49-F238E27FC236}">
                <a16:creationId xmlns:a16="http://schemas.microsoft.com/office/drawing/2014/main" id="{903FAFAF-D498-4E94-B811-BDF23304C4E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6" name="Picture 8" descr="Icône fusée, lancement">
            <a:extLst>
              <a:ext uri="{FF2B5EF4-FFF2-40B4-BE49-F238E27FC236}">
                <a16:creationId xmlns:a16="http://schemas.microsoft.com/office/drawing/2014/main" id="{1D671552-D384-4FEA-9D50-8F9CBAE5D6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" name="Picture 10" descr="Icône levier">
            <a:extLst>
              <a:ext uri="{FF2B5EF4-FFF2-40B4-BE49-F238E27FC236}">
                <a16:creationId xmlns:a16="http://schemas.microsoft.com/office/drawing/2014/main" id="{EC494803-21DF-4570-BEC7-52E9CA88C4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8" name="Flèche : droite 157">
            <a:extLst>
              <a:ext uri="{FF2B5EF4-FFF2-40B4-BE49-F238E27FC236}">
                <a16:creationId xmlns:a16="http://schemas.microsoft.com/office/drawing/2014/main" id="{BFD1F83A-2675-44A7-9AFD-FE51220E22C3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0053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9" name="Espace réservé du texte 3">
            <a:extLst>
              <a:ext uri="{FF2B5EF4-FFF2-40B4-BE49-F238E27FC236}">
                <a16:creationId xmlns:a16="http://schemas.microsoft.com/office/drawing/2014/main" id="{A4E4B445-2F8B-4FBE-A0ED-ACAAE7ABCCC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160" name="Espace réservé du texte 3">
            <a:extLst>
              <a:ext uri="{FF2B5EF4-FFF2-40B4-BE49-F238E27FC236}">
                <a16:creationId xmlns:a16="http://schemas.microsoft.com/office/drawing/2014/main" id="{41A8FF00-2BD3-4962-99EF-7809CA415483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161" name="Espace réservé du texte 3">
            <a:extLst>
              <a:ext uri="{FF2B5EF4-FFF2-40B4-BE49-F238E27FC236}">
                <a16:creationId xmlns:a16="http://schemas.microsoft.com/office/drawing/2014/main" id="{8D18A0B2-D4A5-4EBE-85CB-3CFA48C1C9C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B922DB5D-C78E-4621-913F-D170FD1785C5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3" name="TextBox 18">
            <a:extLst>
              <a:ext uri="{FF2B5EF4-FFF2-40B4-BE49-F238E27FC236}">
                <a16:creationId xmlns:a16="http://schemas.microsoft.com/office/drawing/2014/main" id="{20CC573D-130E-4C43-8540-841EDE1A723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4" name="Espace réservé du texte 15">
            <a:extLst>
              <a:ext uri="{FF2B5EF4-FFF2-40B4-BE49-F238E27FC236}">
                <a16:creationId xmlns:a16="http://schemas.microsoft.com/office/drawing/2014/main" id="{CC975CFA-61BE-4A5F-9F39-D0FEE1FA5D66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165" name="ZoneTexte 164">
            <a:extLst>
              <a:ext uri="{FF2B5EF4-FFF2-40B4-BE49-F238E27FC236}">
                <a16:creationId xmlns:a16="http://schemas.microsoft.com/office/drawing/2014/main" id="{387F061A-C266-4BB5-9809-82E22419BD5E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0053A1"/>
                </a:solidFill>
                <a:latin typeface="+mn-lt"/>
                <a:ea typeface="+mn-ea"/>
                <a:cs typeface="+mn-cs"/>
              </a:rPr>
              <a:t>Réduire les coûts de production du biométhane</a:t>
            </a:r>
          </a:p>
        </p:txBody>
      </p:sp>
      <p:sp>
        <p:nvSpPr>
          <p:cNvPr id="166" name="ZoneTexte 165">
            <a:extLst>
              <a:ext uri="{FF2B5EF4-FFF2-40B4-BE49-F238E27FC236}">
                <a16:creationId xmlns:a16="http://schemas.microsoft.com/office/drawing/2014/main" id="{A0756048-5BF3-46E3-94B5-15780A0D2A8A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  <p:sp>
        <p:nvSpPr>
          <p:cNvPr id="167" name="Rectangle 166">
            <a:extLst>
              <a:ext uri="{FF2B5EF4-FFF2-40B4-BE49-F238E27FC236}">
                <a16:creationId xmlns:a16="http://schemas.microsoft.com/office/drawing/2014/main" id="{E1632950-F71F-455F-91B0-CCFAFA99EFEE}"/>
              </a:ext>
            </a:extLst>
          </p:cNvPr>
          <p:cNvSpPr/>
          <p:nvPr userDrawn="1"/>
        </p:nvSpPr>
        <p:spPr>
          <a:xfrm>
            <a:off x="391870" y="5914888"/>
            <a:ext cx="3411107" cy="506507"/>
          </a:xfrm>
          <a:prstGeom prst="rect">
            <a:avLst/>
          </a:prstGeom>
          <a:noFill/>
          <a:ln w="25400" cap="flat" cmpd="sng" algn="ctr">
            <a:solidFill>
              <a:srgbClr val="0053A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8" name="TextBox 18">
            <a:extLst>
              <a:ext uri="{FF2B5EF4-FFF2-40B4-BE49-F238E27FC236}">
                <a16:creationId xmlns:a16="http://schemas.microsoft.com/office/drawing/2014/main" id="{727A7AD7-2FC5-4D6A-BBF0-CAEDCE8F6A3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4135" y="5841768"/>
            <a:ext cx="1589973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Implication RH GRDF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6FB380D4-5637-4573-8F36-82B32F996398}"/>
              </a:ext>
            </a:extLst>
          </p:cNvPr>
          <p:cNvSpPr/>
          <p:nvPr userDrawn="1"/>
        </p:nvSpPr>
        <p:spPr>
          <a:xfrm>
            <a:off x="516108" y="6131860"/>
            <a:ext cx="3060810" cy="45719"/>
          </a:xfrm>
          <a:prstGeom prst="rect">
            <a:avLst/>
          </a:prstGeom>
          <a:gradFill>
            <a:gsLst>
              <a:gs pos="0">
                <a:srgbClr val="71B857"/>
              </a:gs>
              <a:gs pos="34000">
                <a:srgbClr val="FFFF00"/>
              </a:gs>
              <a:gs pos="68000">
                <a:srgbClr val="FFC000"/>
              </a:gs>
              <a:gs pos="100000">
                <a:srgbClr val="FF00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0" name="TextBox 18">
            <a:extLst>
              <a:ext uri="{FF2B5EF4-FFF2-40B4-BE49-F238E27FC236}">
                <a16:creationId xmlns:a16="http://schemas.microsoft.com/office/drawing/2014/main" id="{A3DB4F03-F09A-45E0-9D4E-003339DCEBA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6234218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aibl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1" name="TextBox 18">
            <a:extLst>
              <a:ext uri="{FF2B5EF4-FFF2-40B4-BE49-F238E27FC236}">
                <a16:creationId xmlns:a16="http://schemas.microsoft.com/office/drawing/2014/main" id="{5E27F17D-0ABB-417C-8C6D-4125E82DC65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634096" y="6234218"/>
            <a:ext cx="77740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Moyenn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2" name="TextBox 18">
            <a:extLst>
              <a:ext uri="{FF2B5EF4-FFF2-40B4-BE49-F238E27FC236}">
                <a16:creationId xmlns:a16="http://schemas.microsoft.com/office/drawing/2014/main" id="{F7AC14D6-6846-4D60-BE7D-2F221FCB16B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025568" y="6225274"/>
            <a:ext cx="695144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bg2">
                    <a:lumMod val="50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Forte</a:t>
            </a:r>
            <a:endParaRPr lang="en-US" sz="1100" b="1">
              <a:solidFill>
                <a:schemeClr val="bg2">
                  <a:lumMod val="50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3" name="TextBox 18">
            <a:extLst>
              <a:ext uri="{FF2B5EF4-FFF2-40B4-BE49-F238E27FC236}">
                <a16:creationId xmlns:a16="http://schemas.microsoft.com/office/drawing/2014/main" id="{4FBAEC3F-D147-471A-BDA3-88903BE7AE3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381939" y="6208595"/>
            <a:ext cx="1231828" cy="16920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urée du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74" name="Espace réservé du texte 3">
            <a:extLst>
              <a:ext uri="{FF2B5EF4-FFF2-40B4-BE49-F238E27FC236}">
                <a16:creationId xmlns:a16="http://schemas.microsoft.com/office/drawing/2014/main" id="{F8DBD455-216C-4AA6-B3C7-E016CE69CC2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646549" y="6218728"/>
            <a:ext cx="479510" cy="21748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100" b="1" i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2 ans</a:t>
            </a:r>
          </a:p>
        </p:txBody>
      </p:sp>
      <p:sp>
        <p:nvSpPr>
          <p:cNvPr id="175" name="Espace réservé du titre 1">
            <a:extLst>
              <a:ext uri="{FF2B5EF4-FFF2-40B4-BE49-F238E27FC236}">
                <a16:creationId xmlns:a16="http://schemas.microsoft.com/office/drawing/2014/main" id="{37AE7528-4BDF-46CB-B4B7-C00BC76358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2C71B1"/>
                </a:solidFill>
              </a:defRPr>
            </a:lvl1pPr>
          </a:lstStyle>
          <a:p>
            <a:r>
              <a:rPr lang="fr-FR" noProof="0"/>
              <a:t>Flexibilité</a:t>
            </a:r>
          </a:p>
        </p:txBody>
      </p:sp>
      <p:pic>
        <p:nvPicPr>
          <p:cNvPr id="176" name="Image 175">
            <a:extLst>
              <a:ext uri="{FF2B5EF4-FFF2-40B4-BE49-F238E27FC236}">
                <a16:creationId xmlns:a16="http://schemas.microsoft.com/office/drawing/2014/main" id="{4DC3AA10-D9ED-4C1D-BD81-CE1D612E77E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295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R&amp;D Envisagés 12 Mois (prédéfinis)">
    <p:bg>
      <p:bgPr>
        <a:solidFill>
          <a:schemeClr val="bg1">
            <a:alpha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F3697B75-AE2C-4439-AE7E-07200C3E535E}"/>
              </a:ext>
            </a:extLst>
          </p:cNvPr>
          <p:cNvSpPr txBox="1"/>
          <p:nvPr userDrawn="1"/>
        </p:nvSpPr>
        <p:spPr>
          <a:xfrm>
            <a:off x="0" y="0"/>
            <a:ext cx="2105025" cy="130492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fr-FR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E080DB8-4AD5-407B-A97B-79EDD29C3B38}"/>
              </a:ext>
            </a:extLst>
          </p:cNvPr>
          <p:cNvSpPr/>
          <p:nvPr userDrawn="1"/>
        </p:nvSpPr>
        <p:spPr>
          <a:xfrm>
            <a:off x="3967839" y="1696356"/>
            <a:ext cx="3237902" cy="2570164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4" name="TextBox 18">
            <a:extLst>
              <a:ext uri="{FF2B5EF4-FFF2-40B4-BE49-F238E27FC236}">
                <a16:creationId xmlns:a16="http://schemas.microsoft.com/office/drawing/2014/main" id="{F22190F9-A1EC-497F-921C-85301DC6E4E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35327" y="1627557"/>
            <a:ext cx="1512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bjectifs &amp; Bénéfice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A3C279F-0C25-4852-85E8-D1D9CA497F0A}"/>
              </a:ext>
            </a:extLst>
          </p:cNvPr>
          <p:cNvSpPr/>
          <p:nvPr userDrawn="1"/>
        </p:nvSpPr>
        <p:spPr>
          <a:xfrm>
            <a:off x="9524328" y="3121960"/>
            <a:ext cx="2212402" cy="117997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F6AC3EC-68CC-4F67-9989-B3E89FBCFA39}"/>
              </a:ext>
            </a:extLst>
          </p:cNvPr>
          <p:cNvSpPr/>
          <p:nvPr userDrawn="1"/>
        </p:nvSpPr>
        <p:spPr>
          <a:xfrm>
            <a:off x="3956986" y="4478738"/>
            <a:ext cx="3236847" cy="194405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5FE7F-8528-40FC-A065-BA684DAEE3A2}"/>
              </a:ext>
            </a:extLst>
          </p:cNvPr>
          <p:cNvSpPr/>
          <p:nvPr userDrawn="1"/>
        </p:nvSpPr>
        <p:spPr>
          <a:xfrm>
            <a:off x="391870" y="1696356"/>
            <a:ext cx="3420000" cy="1787844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30566A5-7872-4AC8-97BB-9C51D33FC848}"/>
              </a:ext>
            </a:extLst>
          </p:cNvPr>
          <p:cNvSpPr/>
          <p:nvPr userDrawn="1"/>
        </p:nvSpPr>
        <p:spPr>
          <a:xfrm>
            <a:off x="9521056" y="1180488"/>
            <a:ext cx="2227393" cy="1769589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35" name="TextBox 18">
            <a:extLst>
              <a:ext uri="{FF2B5EF4-FFF2-40B4-BE49-F238E27FC236}">
                <a16:creationId xmlns:a16="http://schemas.microsoft.com/office/drawing/2014/main" id="{817410EC-9FF2-4565-918F-547CB0A67ADA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26412" y="1082846"/>
            <a:ext cx="756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Livrable(s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5" name="TextBox 18">
            <a:extLst>
              <a:ext uri="{FF2B5EF4-FFF2-40B4-BE49-F238E27FC236}">
                <a16:creationId xmlns:a16="http://schemas.microsoft.com/office/drawing/2014/main" id="{0B942681-B634-4D92-A425-BC42F246D9A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74735" y="4402599"/>
            <a:ext cx="6094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Budg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6" name="TextBox 18">
            <a:extLst>
              <a:ext uri="{FF2B5EF4-FFF2-40B4-BE49-F238E27FC236}">
                <a16:creationId xmlns:a16="http://schemas.microsoft.com/office/drawing/2014/main" id="{8A25E436-F9B8-4B7B-9799-75BD974D770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89125" y="1597997"/>
            <a:ext cx="93351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Organisa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4" name="Espace réservé du texte 53">
            <a:extLst>
              <a:ext uri="{FF2B5EF4-FFF2-40B4-BE49-F238E27FC236}">
                <a16:creationId xmlns:a16="http://schemas.microsoft.com/office/drawing/2014/main" id="{67A2CDE2-036A-4A8D-818E-8D1CDDCB274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606388" y="1294227"/>
            <a:ext cx="2057615" cy="1557037"/>
          </a:xfr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Arial" panose="020B0604020202020204" pitchFamily="34" charset="0"/>
              <a:buChar char="•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sp>
        <p:nvSpPr>
          <p:cNvPr id="64" name="Espace réservé du texte 63">
            <a:extLst>
              <a:ext uri="{FF2B5EF4-FFF2-40B4-BE49-F238E27FC236}">
                <a16:creationId xmlns:a16="http://schemas.microsoft.com/office/drawing/2014/main" id="{46C42A35-D516-42A1-A713-0ECAC398024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02201" y="3330485"/>
            <a:ext cx="2061802" cy="870211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>
                  <a:lumMod val="75000"/>
                  <a:lumOff val="25000"/>
                </a:schemeClr>
              </a:buClr>
              <a:buFont typeface="Wingdings" panose="05000000000000000000" pitchFamily="2" charset="2"/>
              <a:buChar char="§"/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marL="171450" lvl="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</a:pPr>
            <a:r>
              <a:rPr lang="fr-FR"/>
              <a:t>Cliquez pour renseigner</a:t>
            </a:r>
          </a:p>
        </p:txBody>
      </p:sp>
      <p:pic>
        <p:nvPicPr>
          <p:cNvPr id="83" name="Image 82">
            <a:extLst>
              <a:ext uri="{FF2B5EF4-FFF2-40B4-BE49-F238E27FC236}">
                <a16:creationId xmlns:a16="http://schemas.microsoft.com/office/drawing/2014/main" id="{7F518AB5-B926-4309-83A9-F0706D8495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32" t="20434" r="7282" b="19193"/>
          <a:stretch/>
        </p:blipFill>
        <p:spPr bwMode="gray">
          <a:xfrm>
            <a:off x="266701" y="186428"/>
            <a:ext cx="860763" cy="550803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0B2521D0-4891-4B30-BC42-6C0948865DBE}"/>
              </a:ext>
            </a:extLst>
          </p:cNvPr>
          <p:cNvSpPr/>
          <p:nvPr userDrawn="1"/>
        </p:nvSpPr>
        <p:spPr>
          <a:xfrm>
            <a:off x="7347843" y="5157130"/>
            <a:ext cx="4400606" cy="126566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25" name="TextBox 18">
            <a:extLst>
              <a:ext uri="{FF2B5EF4-FFF2-40B4-BE49-F238E27FC236}">
                <a16:creationId xmlns:a16="http://schemas.microsoft.com/office/drawing/2014/main" id="{FDF13A9D-8EB8-4DA6-8BC9-21250FBE21D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68841" y="5083431"/>
            <a:ext cx="1440000" cy="16920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Calendrier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55" name="TextBox 18">
            <a:extLst>
              <a:ext uri="{FF2B5EF4-FFF2-40B4-BE49-F238E27FC236}">
                <a16:creationId xmlns:a16="http://schemas.microsoft.com/office/drawing/2014/main" id="{68A781F7-BE95-4127-8659-4FCB714E050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602201" y="3037988"/>
            <a:ext cx="129670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Points </a:t>
            </a:r>
            <a:r>
              <a:rPr lang="en-US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d’attention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FA3B479A-0EC3-4A6B-94FB-39C33DA8EA02}"/>
              </a:ext>
            </a:extLst>
          </p:cNvPr>
          <p:cNvSpPr/>
          <p:nvPr userDrawn="1"/>
        </p:nvSpPr>
        <p:spPr>
          <a:xfrm>
            <a:off x="7347843" y="1180488"/>
            <a:ext cx="1985590" cy="1769589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81" name="Espace réservé du texte 55">
            <a:extLst>
              <a:ext uri="{FF2B5EF4-FFF2-40B4-BE49-F238E27FC236}">
                <a16:creationId xmlns:a16="http://schemas.microsoft.com/office/drawing/2014/main" id="{AF36ABF3-B9E7-434F-9CF4-36DC2B09F70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430108" y="1301428"/>
            <a:ext cx="1825554" cy="1560064"/>
          </a:xfrm>
        </p:spPr>
        <p:txBody>
          <a:bodyPr anchor="t"/>
          <a:lstStyle>
            <a:lvl1pPr marL="171450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84" name="TextBox 18">
            <a:extLst>
              <a:ext uri="{FF2B5EF4-FFF2-40B4-BE49-F238E27FC236}">
                <a16:creationId xmlns:a16="http://schemas.microsoft.com/office/drawing/2014/main" id="{007A2CB7-04E1-4232-A552-BC439395E4C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1091908"/>
            <a:ext cx="68304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njeu(x)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4FF5C996-8EE6-428A-B139-CF723F7684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064200" y="1865633"/>
            <a:ext cx="3007642" cy="2335486"/>
          </a:xfrm>
        </p:spPr>
        <p:txBody>
          <a:bodyPr/>
          <a:lstStyle>
            <a:lvl1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tabLst/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Cliquez pour renseigner</a:t>
            </a:r>
          </a:p>
        </p:txBody>
      </p:sp>
      <p:sp>
        <p:nvSpPr>
          <p:cNvPr id="68" name="Rounded Rectangle 4">
            <a:extLst>
              <a:ext uri="{FF2B5EF4-FFF2-40B4-BE49-F238E27FC236}">
                <a16:creationId xmlns:a16="http://schemas.microsoft.com/office/drawing/2014/main" id="{B9B5A3E0-545E-4C19-97A0-886F8B6379A3}"/>
              </a:ext>
            </a:extLst>
          </p:cNvPr>
          <p:cNvSpPr/>
          <p:nvPr userDrawn="1"/>
        </p:nvSpPr>
        <p:spPr>
          <a:xfrm>
            <a:off x="460182" y="1798864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9" name="Rounded Rectangle 4">
            <a:extLst>
              <a:ext uri="{FF2B5EF4-FFF2-40B4-BE49-F238E27FC236}">
                <a16:creationId xmlns:a16="http://schemas.microsoft.com/office/drawing/2014/main" id="{0688BE06-826E-4A67-B711-237A71D2F057}"/>
              </a:ext>
            </a:extLst>
          </p:cNvPr>
          <p:cNvSpPr/>
          <p:nvPr userDrawn="1"/>
        </p:nvSpPr>
        <p:spPr>
          <a:xfrm>
            <a:off x="460182" y="2019908"/>
            <a:ext cx="1008000" cy="180000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000" b="1" kern="0">
                <a:solidFill>
                  <a:srgbClr val="9796A3">
                    <a:lumMod val="50000"/>
                  </a:srgbClr>
                </a:solidFill>
                <a:latin typeface="Avenir LT Std 55 Roman" panose="020B0503020203020204" pitchFamily="34" charset="0"/>
                <a:cs typeface="Arial" pitchFamily="34" charset="0"/>
              </a:rPr>
              <a:t>Co-Pilote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5" name="Espace réservé du texte 5">
            <a:extLst>
              <a:ext uri="{FF2B5EF4-FFF2-40B4-BE49-F238E27FC236}">
                <a16:creationId xmlns:a16="http://schemas.microsoft.com/office/drawing/2014/main" id="{56471000-9047-46F7-83F0-5F1F1FA80E0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525511" y="1797068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6" name="Espace réservé du texte 46">
            <a:extLst>
              <a:ext uri="{FF2B5EF4-FFF2-40B4-BE49-F238E27FC236}">
                <a16:creationId xmlns:a16="http://schemas.microsoft.com/office/drawing/2014/main" id="{349EBF7C-7AA3-4AB0-8B2A-0B298743E3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525511" y="2050167"/>
            <a:ext cx="2232000" cy="180000"/>
          </a:xfrm>
        </p:spPr>
        <p:txBody>
          <a:bodyPr anchor="t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Prénom Nom (entité)</a:t>
            </a:r>
          </a:p>
        </p:txBody>
      </p:sp>
      <p:sp>
        <p:nvSpPr>
          <p:cNvPr id="87" name="Espace réservé du texte 48">
            <a:extLst>
              <a:ext uri="{FF2B5EF4-FFF2-40B4-BE49-F238E27FC236}">
                <a16:creationId xmlns:a16="http://schemas.microsoft.com/office/drawing/2014/main" id="{115C7F52-E569-4B8D-A53C-A4ED1B6DFED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5511" y="2303266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93" name="Rounded Rectangle 4">
            <a:extLst>
              <a:ext uri="{FF2B5EF4-FFF2-40B4-BE49-F238E27FC236}">
                <a16:creationId xmlns:a16="http://schemas.microsoft.com/office/drawing/2014/main" id="{D4071ACB-C9DD-4B0D-B4AF-5786B36EE1A4}"/>
              </a:ext>
            </a:extLst>
          </p:cNvPr>
          <p:cNvSpPr/>
          <p:nvPr userDrawn="1"/>
        </p:nvSpPr>
        <p:spPr>
          <a:xfrm>
            <a:off x="460182" y="2240952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ublique(s)</a:t>
            </a:r>
            <a:endParaRPr kumimoji="0" lang="en-US" sz="1000" b="1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EB05D550-536C-4401-92D0-0CB4F3D68AB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280277" y="4593009"/>
            <a:ext cx="802863" cy="305391"/>
          </a:xfrm>
        </p:spPr>
        <p:txBody>
          <a:bodyPr anchor="ctr"/>
          <a:lstStyle>
            <a:lvl1pPr algn="ctr">
              <a:defRPr lang="fr-FR" sz="16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D8F97A97-A5BE-4687-BE14-A04ECCE70715}"/>
              </a:ext>
            </a:extLst>
          </p:cNvPr>
          <p:cNvSpPr/>
          <p:nvPr userDrawn="1"/>
        </p:nvSpPr>
        <p:spPr>
          <a:xfrm>
            <a:off x="7347843" y="312196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FEFF2389-88BB-4BEC-B829-DB0D60DD8E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137236" y="3215933"/>
            <a:ext cx="1118426" cy="338555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X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172AFA4F-8058-4A72-B768-967413798DBB}"/>
              </a:ext>
            </a:extLst>
          </p:cNvPr>
          <p:cNvSpPr/>
          <p:nvPr userDrawn="1"/>
        </p:nvSpPr>
        <p:spPr>
          <a:xfrm>
            <a:off x="391870" y="3743130"/>
            <a:ext cx="3411107" cy="267966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92" name="Espace réservé du titre 1">
            <a:extLst>
              <a:ext uri="{FF2B5EF4-FFF2-40B4-BE49-F238E27FC236}">
                <a16:creationId xmlns:a16="http://schemas.microsoft.com/office/drawing/2014/main" id="{AFDA26AC-7E3C-4704-BD02-16A04CC144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381125" y="151549"/>
            <a:ext cx="10379076" cy="612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600">
                <a:solidFill>
                  <a:srgbClr val="2C71B1"/>
                </a:solidFill>
              </a:defRPr>
            </a:lvl1pPr>
          </a:lstStyle>
          <a:p>
            <a:r>
              <a:rPr lang="fr-FR" noProof="0"/>
              <a:t>Flexibilité</a:t>
            </a:r>
          </a:p>
        </p:txBody>
      </p:sp>
      <p:sp>
        <p:nvSpPr>
          <p:cNvPr id="98" name="TextBox 18">
            <a:extLst>
              <a:ext uri="{FF2B5EF4-FFF2-40B4-BE49-F238E27FC236}">
                <a16:creationId xmlns:a16="http://schemas.microsoft.com/office/drawing/2014/main" id="{F687A62A-04C1-4A50-AAEC-7724EE54257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516108" y="3631239"/>
            <a:ext cx="1548000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 err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coring</a:t>
            </a: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 projet :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2" name="Rounded Rectangle 4">
            <a:extLst>
              <a:ext uri="{FF2B5EF4-FFF2-40B4-BE49-F238E27FC236}">
                <a16:creationId xmlns:a16="http://schemas.microsoft.com/office/drawing/2014/main" id="{4E8E2F17-A0AD-4472-89F1-B7C32944B1C1}"/>
              </a:ext>
            </a:extLst>
          </p:cNvPr>
          <p:cNvSpPr/>
          <p:nvPr userDrawn="1"/>
        </p:nvSpPr>
        <p:spPr>
          <a:xfrm>
            <a:off x="1831147" y="3621176"/>
            <a:ext cx="396000" cy="193008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0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+mj-lt"/>
                <a:cs typeface="Arial" pitchFamily="34" charset="0"/>
              </a:rPr>
              <a:t>   / 5</a:t>
            </a:r>
            <a:endParaRPr kumimoji="0" lang="en-US" sz="1000" b="0" i="0" u="none" strike="noStrike" kern="0" cap="none" spc="0" normalizeH="0" baseline="0" noProof="0" err="1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+mj-lt"/>
              <a:cs typeface="Arial" pitchFamily="34" charset="0"/>
            </a:endParaRPr>
          </a:p>
        </p:txBody>
      </p:sp>
      <p:sp>
        <p:nvSpPr>
          <p:cNvPr id="103" name="Espace réservé du texte 4">
            <a:extLst>
              <a:ext uri="{FF2B5EF4-FFF2-40B4-BE49-F238E27FC236}">
                <a16:creationId xmlns:a16="http://schemas.microsoft.com/office/drawing/2014/main" id="{2773C94E-82A4-4A14-B909-39E56251E6BC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1614797" y="3606990"/>
            <a:ext cx="324000" cy="216000"/>
          </a:xfrm>
          <a:solidFill>
            <a:schemeClr val="bg1"/>
          </a:solidFill>
        </p:spPr>
        <p:txBody>
          <a:bodyPr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rgbClr val="0097C2"/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N</a:t>
            </a:r>
          </a:p>
        </p:txBody>
      </p:sp>
      <p:sp>
        <p:nvSpPr>
          <p:cNvPr id="106" name="TextBox 18">
            <a:extLst>
              <a:ext uri="{FF2B5EF4-FFF2-40B4-BE49-F238E27FC236}">
                <a16:creationId xmlns:a16="http://schemas.microsoft.com/office/drawing/2014/main" id="{F99CF9D3-933F-4A04-95E5-20BC58F0D81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046657"/>
            <a:ext cx="1031119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ffet de levier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6" name="Rounded Rectangle 4">
            <a:extLst>
              <a:ext uri="{FF2B5EF4-FFF2-40B4-BE49-F238E27FC236}">
                <a16:creationId xmlns:a16="http://schemas.microsoft.com/office/drawing/2014/main" id="{AA987051-87CF-4547-8569-2544EFAC79CB}"/>
              </a:ext>
            </a:extLst>
          </p:cNvPr>
          <p:cNvSpPr/>
          <p:nvPr userDrawn="1"/>
        </p:nvSpPr>
        <p:spPr>
          <a:xfrm>
            <a:off x="460182" y="2648707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ire(s) privé(s)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82" name="Espace réservé du texte 48">
            <a:extLst>
              <a:ext uri="{FF2B5EF4-FFF2-40B4-BE49-F238E27FC236}">
                <a16:creationId xmlns:a16="http://schemas.microsoft.com/office/drawing/2014/main" id="{C9F965FF-3E11-4559-A1C3-CD55D4A5A8F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1525511" y="2687311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tités</a:t>
            </a:r>
          </a:p>
          <a:p>
            <a:pPr lvl="0"/>
            <a:r>
              <a:rPr lang="fr-FR"/>
              <a:t>…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436961F9-AC59-462F-B64D-7B8024DCD4CA}"/>
              </a:ext>
            </a:extLst>
          </p:cNvPr>
          <p:cNvSpPr/>
          <p:nvPr userDrawn="1"/>
        </p:nvSpPr>
        <p:spPr>
          <a:xfrm>
            <a:off x="391870" y="1180488"/>
            <a:ext cx="3411107" cy="33855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105" name="TextBox 18">
            <a:extLst>
              <a:ext uri="{FF2B5EF4-FFF2-40B4-BE49-F238E27FC236}">
                <a16:creationId xmlns:a16="http://schemas.microsoft.com/office/drawing/2014/main" id="{74AEF68F-D985-4126-8ACB-973A78F7662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71820" y="1073038"/>
            <a:ext cx="1053691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Etat du projet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8" name="Espace réservé du texte 15">
            <a:extLst>
              <a:ext uri="{FF2B5EF4-FFF2-40B4-BE49-F238E27FC236}">
                <a16:creationId xmlns:a16="http://schemas.microsoft.com/office/drawing/2014/main" id="{85E4E902-05A3-4B84-93F6-66E680DBE0F8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874857" y="3954587"/>
            <a:ext cx="738910" cy="240489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X.X</a:t>
            </a:r>
          </a:p>
        </p:txBody>
      </p:sp>
      <p:sp>
        <p:nvSpPr>
          <p:cNvPr id="111" name="Espace réservé du texte 15">
            <a:extLst>
              <a:ext uri="{FF2B5EF4-FFF2-40B4-BE49-F238E27FC236}">
                <a16:creationId xmlns:a16="http://schemas.microsoft.com/office/drawing/2014/main" id="{C0D323AC-FA8F-4804-B556-49B8628C1BF4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998691" y="4652656"/>
            <a:ext cx="1264138" cy="245744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4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202.</a:t>
            </a:r>
          </a:p>
        </p:txBody>
      </p:sp>
      <p:sp>
        <p:nvSpPr>
          <p:cNvPr id="114" name="Espace réservé de la date 10">
            <a:extLst>
              <a:ext uri="{FF2B5EF4-FFF2-40B4-BE49-F238E27FC236}">
                <a16:creationId xmlns:a16="http://schemas.microsoft.com/office/drawing/2014/main" id="{F5901C60-B35E-41A0-B57F-5E511FC1794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11760202" y="6705600"/>
            <a:ext cx="429095" cy="152400"/>
          </a:xfrm>
        </p:spPr>
        <p:txBody>
          <a:bodyPr/>
          <a:lstStyle/>
          <a:p>
            <a:fld id="{E120997D-C45B-4EC5-B3B7-202D2D77FD82}" type="datetime1">
              <a:rPr lang="en-GB" smtClean="0"/>
              <a:t>14/02/2024</a:t>
            </a:fld>
            <a:endParaRPr lang="fr-FR"/>
          </a:p>
        </p:txBody>
      </p:sp>
      <p:sp>
        <p:nvSpPr>
          <p:cNvPr id="115" name="Espace réservé du numéro de diapositive 11">
            <a:extLst>
              <a:ext uri="{FF2B5EF4-FFF2-40B4-BE49-F238E27FC236}">
                <a16:creationId xmlns:a16="http://schemas.microsoft.com/office/drawing/2014/main" id="{BA35476A-C7DE-4C21-BDE9-74CA8B59C9B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>
          <a:xfrm>
            <a:off x="10991854" y="6705600"/>
            <a:ext cx="768348" cy="152400"/>
          </a:xfrm>
        </p:spPr>
        <p:txBody>
          <a:bodyPr/>
          <a:lstStyle/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18">
            <a:extLst>
              <a:ext uri="{FF2B5EF4-FFF2-40B4-BE49-F238E27FC236}">
                <a16:creationId xmlns:a16="http://schemas.microsoft.com/office/drawing/2014/main" id="{CA5F631E-90A3-4A69-9C85-BE923195408B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495897" y="3970950"/>
            <a:ext cx="78081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€ / MWh</a:t>
            </a:r>
            <a:endParaRPr lang="en-US" sz="1400" kern="1200">
              <a:solidFill>
                <a:schemeClr val="tx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ounded Rectangle 4">
            <a:extLst>
              <a:ext uri="{FF2B5EF4-FFF2-40B4-BE49-F238E27FC236}">
                <a16:creationId xmlns:a16="http://schemas.microsoft.com/office/drawing/2014/main" id="{CF967569-BD0D-4442-98A5-70AB3139A7DA}"/>
              </a:ext>
            </a:extLst>
          </p:cNvPr>
          <p:cNvSpPr/>
          <p:nvPr userDrawn="1"/>
        </p:nvSpPr>
        <p:spPr>
          <a:xfrm>
            <a:off x="460182" y="3056460"/>
            <a:ext cx="1000185" cy="366711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txBody>
          <a:bodyPr lIns="36000" tIns="36000" rIns="36000" bIns="3600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0" cap="none" spc="0" normalizeH="0" baseline="0" noProof="0">
                <a:ln>
                  <a:noFill/>
                </a:ln>
                <a:solidFill>
                  <a:srgbClr val="9796A3">
                    <a:lumMod val="50000"/>
                  </a:srgbClr>
                </a:solidFill>
                <a:effectLst/>
                <a:uLnTx/>
                <a:uFillTx/>
                <a:latin typeface="Avenir LT Std 55 Roman" panose="020B0503020203020204" pitchFamily="34" charset="0"/>
                <a:cs typeface="Arial" pitchFamily="34" charset="0"/>
              </a:rPr>
              <a:t>Partenariat GRDF</a:t>
            </a:r>
            <a:endParaRPr kumimoji="0" lang="en-US" sz="1000" b="1" i="0" u="none" strike="noStrike" kern="0" cap="none" spc="0" normalizeH="0" baseline="0" noProof="0">
              <a:ln>
                <a:noFill/>
              </a:ln>
              <a:solidFill>
                <a:srgbClr val="9796A3">
                  <a:lumMod val="50000"/>
                </a:srgbClr>
              </a:solidFill>
              <a:effectLst/>
              <a:uLnTx/>
              <a:uFillTx/>
              <a:latin typeface="Avenir LT Std 55 Roman" panose="020B0503020203020204" pitchFamily="34" charset="0"/>
              <a:cs typeface="Arial" pitchFamily="34" charset="0"/>
            </a:endParaRPr>
          </a:p>
        </p:txBody>
      </p:sp>
      <p:sp>
        <p:nvSpPr>
          <p:cNvPr id="70" name="Espace réservé du texte 48">
            <a:extLst>
              <a:ext uri="{FF2B5EF4-FFF2-40B4-BE49-F238E27FC236}">
                <a16:creationId xmlns:a16="http://schemas.microsoft.com/office/drawing/2014/main" id="{C79773DE-187E-4E8F-9802-91C6B6707CF5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525511" y="3071357"/>
            <a:ext cx="2232000" cy="31094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Structure ou </a:t>
            </a:r>
          </a:p>
          <a:p>
            <a:pPr lvl="0"/>
            <a:r>
              <a:rPr lang="fr-FR"/>
              <a:t>logo de l’institut partenaire</a:t>
            </a:r>
          </a:p>
        </p:txBody>
      </p:sp>
      <p:pic>
        <p:nvPicPr>
          <p:cNvPr id="3074" name="Picture 2" descr="Icône Les pieces de monnaie, argent, pile Gratuit de Simpleicon ...">
            <a:extLst>
              <a:ext uri="{FF2B5EF4-FFF2-40B4-BE49-F238E27FC236}">
                <a16:creationId xmlns:a16="http://schemas.microsoft.com/office/drawing/2014/main" id="{5B654622-A825-4313-B234-DFDD1D33E4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4394" y="3913267"/>
            <a:ext cx="352387" cy="3523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B72E412A-EB7E-4BE0-8212-4FAB284F1542}"/>
              </a:ext>
            </a:extLst>
          </p:cNvPr>
          <p:cNvSpPr/>
          <p:nvPr userDrawn="1"/>
        </p:nvSpPr>
        <p:spPr>
          <a:xfrm>
            <a:off x="7347843" y="380035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1625C50E-81D6-49CE-9B53-59D680E4141D}"/>
              </a:ext>
            </a:extLst>
          </p:cNvPr>
          <p:cNvSpPr/>
          <p:nvPr userDrawn="1"/>
        </p:nvSpPr>
        <p:spPr>
          <a:xfrm>
            <a:off x="7347843" y="4478740"/>
            <a:ext cx="1985591" cy="50650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5E60EEA5-C2AA-46BC-890C-357F6ABDF2B7}"/>
              </a:ext>
            </a:extLst>
          </p:cNvPr>
          <p:cNvSpPr/>
          <p:nvPr userDrawn="1"/>
        </p:nvSpPr>
        <p:spPr>
          <a:xfrm>
            <a:off x="9521056" y="4478739"/>
            <a:ext cx="2212402" cy="506507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57" name="TextBox 18">
            <a:extLst>
              <a:ext uri="{FF2B5EF4-FFF2-40B4-BE49-F238E27FC236}">
                <a16:creationId xmlns:a16="http://schemas.microsoft.com/office/drawing/2014/main" id="{BCAD1FB9-68AA-4E50-AE24-BC114AF0383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9586085" y="4381816"/>
            <a:ext cx="1531306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Solution mature dans 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12" name="TextBox 18">
            <a:extLst>
              <a:ext uri="{FF2B5EF4-FFF2-40B4-BE49-F238E27FC236}">
                <a16:creationId xmlns:a16="http://schemas.microsoft.com/office/drawing/2014/main" id="{1961FBFA-A8E9-43B6-ABAF-91F1421A315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30108" y="4405619"/>
            <a:ext cx="1144105" cy="173916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Échéance finale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109" name="TextBox 18">
            <a:extLst>
              <a:ext uri="{FF2B5EF4-FFF2-40B4-BE49-F238E27FC236}">
                <a16:creationId xmlns:a16="http://schemas.microsoft.com/office/drawing/2014/main" id="{80D6DFB2-1F76-4457-958A-115198CC5562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7414183" y="3699555"/>
            <a:ext cx="1494658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Réduction des coûts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pic>
        <p:nvPicPr>
          <p:cNvPr id="3078" name="Picture 6" descr="Icône calendrier, avec, une, horloge, temps, outils">
            <a:extLst>
              <a:ext uri="{FF2B5EF4-FFF2-40B4-BE49-F238E27FC236}">
                <a16:creationId xmlns:a16="http://schemas.microsoft.com/office/drawing/2014/main" id="{475B34D4-11FA-4FDE-92CA-9F2320A6185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949" y="4606145"/>
            <a:ext cx="346298" cy="3462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Icône fusée, lancement">
            <a:extLst>
              <a:ext uri="{FF2B5EF4-FFF2-40B4-BE49-F238E27FC236}">
                <a16:creationId xmlns:a16="http://schemas.microsoft.com/office/drawing/2014/main" id="{5A451133-D55C-444F-BF5D-6B313254341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98628" y="4505627"/>
            <a:ext cx="467064" cy="467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Icône levier">
            <a:extLst>
              <a:ext uri="{FF2B5EF4-FFF2-40B4-BE49-F238E27FC236}">
                <a16:creationId xmlns:a16="http://schemas.microsoft.com/office/drawing/2014/main" id="{6B69256E-973A-41C4-8E2B-DEFEFA0456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5423" y="3215932"/>
            <a:ext cx="416823" cy="416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Flèche : droite 2">
            <a:extLst>
              <a:ext uri="{FF2B5EF4-FFF2-40B4-BE49-F238E27FC236}">
                <a16:creationId xmlns:a16="http://schemas.microsoft.com/office/drawing/2014/main" id="{92EE1126-3B27-43E2-953A-E7041F665B38}"/>
              </a:ext>
            </a:extLst>
          </p:cNvPr>
          <p:cNvSpPr/>
          <p:nvPr userDrawn="1"/>
        </p:nvSpPr>
        <p:spPr>
          <a:xfrm>
            <a:off x="7682236" y="5320910"/>
            <a:ext cx="3731819" cy="344907"/>
          </a:xfrm>
          <a:prstGeom prst="rightArrow">
            <a:avLst/>
          </a:prstGeom>
          <a:solidFill>
            <a:srgbClr val="2C71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80" name="Espace réservé du texte 3">
            <a:extLst>
              <a:ext uri="{FF2B5EF4-FFF2-40B4-BE49-F238E27FC236}">
                <a16:creationId xmlns:a16="http://schemas.microsoft.com/office/drawing/2014/main" id="{22CD7732-4D3A-454C-9CBA-49A2D56799C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535949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lancement</a:t>
            </a:r>
          </a:p>
        </p:txBody>
      </p:sp>
      <p:sp>
        <p:nvSpPr>
          <p:cNvPr id="88" name="Espace réservé du texte 3">
            <a:extLst>
              <a:ext uri="{FF2B5EF4-FFF2-40B4-BE49-F238E27FC236}">
                <a16:creationId xmlns:a16="http://schemas.microsoft.com/office/drawing/2014/main" id="{5D81A0AD-0FB3-4271-9700-D91499F4D54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0414866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Date de clôture / restitution</a:t>
            </a:r>
          </a:p>
        </p:txBody>
      </p:sp>
      <p:sp>
        <p:nvSpPr>
          <p:cNvPr id="94" name="Espace réservé du texte 3">
            <a:extLst>
              <a:ext uri="{FF2B5EF4-FFF2-40B4-BE49-F238E27FC236}">
                <a16:creationId xmlns:a16="http://schemas.microsoft.com/office/drawing/2014/main" id="{4512FF6E-6AD1-49D2-B9B4-13A6D8BA8389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975408" y="5692647"/>
            <a:ext cx="1214761" cy="62621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 lang="fr-FR" sz="1050" i="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fr-FR"/>
              <a:t>Livrable intermédiaire / fin d’une phase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C2783219-6052-48B9-9050-03A1BE0E060D}"/>
              </a:ext>
            </a:extLst>
          </p:cNvPr>
          <p:cNvSpPr/>
          <p:nvPr userDrawn="1"/>
        </p:nvSpPr>
        <p:spPr>
          <a:xfrm>
            <a:off x="3967839" y="1180488"/>
            <a:ext cx="3225994" cy="338555"/>
          </a:xfrm>
          <a:prstGeom prst="rect">
            <a:avLst/>
          </a:prstGeom>
          <a:noFill/>
          <a:ln w="25400" cap="flat" cmpd="sng" algn="ctr">
            <a:solidFill>
              <a:srgbClr val="2C71B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LT Std 55 Roman"/>
              <a:ea typeface="+mn-ea"/>
              <a:cs typeface="+mn-cs"/>
            </a:endParaRPr>
          </a:p>
        </p:txBody>
      </p:sp>
      <p:sp>
        <p:nvSpPr>
          <p:cNvPr id="77" name="TextBox 18">
            <a:extLst>
              <a:ext uri="{FF2B5EF4-FFF2-40B4-BE49-F238E27FC236}">
                <a16:creationId xmlns:a16="http://schemas.microsoft.com/office/drawing/2014/main" id="{BF732A32-237B-40A1-9DC7-5C2AA1BDA59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052085" y="1107878"/>
            <a:ext cx="1018292" cy="1692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36000" tIns="0" rIns="3600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1100" b="1">
                <a:solidFill>
                  <a:schemeClr val="tx1">
                    <a:lumMod val="95000"/>
                    <a:lumOff val="5000"/>
                  </a:schemeClr>
                </a:solidFill>
                <a:latin typeface="Avenir LT Std 55 Roman"/>
                <a:ea typeface="MS PGothic" pitchFamily="34" charset="-128"/>
                <a:cs typeface="Arial" charset="0"/>
              </a:rPr>
              <a:t>Axe de R&amp;D</a:t>
            </a:r>
            <a:endParaRPr lang="en-US" sz="1100" b="1">
              <a:solidFill>
                <a:schemeClr val="tx1">
                  <a:lumMod val="95000"/>
                  <a:lumOff val="5000"/>
                </a:schemeClr>
              </a:solidFill>
              <a:latin typeface="Avenir LT Std 55 Roman"/>
              <a:ea typeface="MS PGothic" pitchFamily="34" charset="-128"/>
              <a:cs typeface="Arial" charset="0"/>
            </a:endParaRPr>
          </a:p>
        </p:txBody>
      </p:sp>
      <p:sp>
        <p:nvSpPr>
          <p:cNvPr id="78" name="Espace réservé du texte 15">
            <a:extLst>
              <a:ext uri="{FF2B5EF4-FFF2-40B4-BE49-F238E27FC236}">
                <a16:creationId xmlns:a16="http://schemas.microsoft.com/office/drawing/2014/main" id="{AFF3A36E-8804-407C-B82B-F4CA238C78EA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471820" y="1284760"/>
            <a:ext cx="3036515" cy="189061"/>
          </a:xfrm>
        </p:spPr>
        <p:txBody>
          <a:bodyPr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fr-FR" sz="1000" b="1" kern="1200" dirty="0" smtClean="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>
              <a:defRPr lang="fr-FR" sz="1000" kern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fr-FR"/>
              <a:t>En cours / à lancer/ envisagé 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BD5B82B-9F34-47D2-97E1-F6E54FE18EFD}"/>
              </a:ext>
            </a:extLst>
          </p:cNvPr>
          <p:cNvSpPr txBox="1"/>
          <p:nvPr userDrawn="1"/>
        </p:nvSpPr>
        <p:spPr>
          <a:xfrm>
            <a:off x="4019617" y="1272822"/>
            <a:ext cx="308893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fr-FR" sz="1000" b="1" kern="1200">
                <a:solidFill>
                  <a:srgbClr val="2C71B1"/>
                </a:solidFill>
                <a:latin typeface="+mn-lt"/>
                <a:ea typeface="+mn-ea"/>
                <a:cs typeface="+mn-cs"/>
              </a:rPr>
              <a:t>Accroître la flexibilité du réseau</a:t>
            </a:r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F6FCE368-46CB-4FFC-96E6-29DD0387166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800" y="590400"/>
            <a:ext cx="11781818" cy="548663"/>
          </a:xfrm>
          <a:prstGeom prst="rect">
            <a:avLst/>
          </a:prstGeom>
        </p:spPr>
      </p:pic>
      <p:sp>
        <p:nvSpPr>
          <p:cNvPr id="72" name="ZoneTexte 71">
            <a:extLst>
              <a:ext uri="{FF2B5EF4-FFF2-40B4-BE49-F238E27FC236}">
                <a16:creationId xmlns:a16="http://schemas.microsoft.com/office/drawing/2014/main" id="{29BA96F6-0BD3-4976-8765-18F4A8ABF180}"/>
              </a:ext>
            </a:extLst>
          </p:cNvPr>
          <p:cNvSpPr txBox="1"/>
          <p:nvPr userDrawn="1"/>
        </p:nvSpPr>
        <p:spPr>
          <a:xfrm>
            <a:off x="10852483" y="4578412"/>
            <a:ext cx="7771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ans *</a:t>
            </a:r>
          </a:p>
        </p:txBody>
      </p:sp>
    </p:spTree>
    <p:extLst>
      <p:ext uri="{BB962C8B-B14F-4D97-AF65-F5344CB8AC3E}">
        <p14:creationId xmlns:p14="http://schemas.microsoft.com/office/powerpoint/2010/main" val="11624118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7.xml"/><Relationship Id="rId7" Type="http://schemas.openxmlformats.org/officeDocument/2006/relationships/image" Target="../media/image5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3.bin"/><Relationship Id="rId5" Type="http://schemas.openxmlformats.org/officeDocument/2006/relationships/tags" Target="../tags/tag3.xml"/><Relationship Id="rId4" Type="http://schemas.openxmlformats.org/officeDocument/2006/relationships/theme" Target="../theme/theme2.xml"/><Relationship Id="rId9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6318504"/>
            <a:ext cx="12192000" cy="539496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351618" y="404816"/>
            <a:ext cx="9408583" cy="11525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824569" y="1989141"/>
            <a:ext cx="9935633" cy="4103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11760202" y="6705600"/>
            <a:ext cx="429095" cy="1524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100"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6A704A6D-66DC-48CA-8110-D1BC21163BCD}" type="datetime1">
              <a:rPr lang="en-GB" smtClean="0"/>
              <a:t>14/02/2024</a:t>
            </a:fld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0991854" y="6705600"/>
            <a:ext cx="768348" cy="15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accent6"/>
                </a:solidFill>
              </a:defRPr>
            </a:lvl1pPr>
          </a:lstStyle>
          <a:p>
            <a:fld id="{10C140CD-8AED-46FF-A9A2-77308F3F39AE}" type="slidenum">
              <a:rPr lang="fr-FR" smtClean="0"/>
              <a:pPr/>
              <a:t>‹N°›</a:t>
            </a:fld>
            <a:endParaRPr lang="fr-FR"/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A9F4B02F-F25D-B15F-8988-2AA1769C0342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11329660" y="6197631"/>
            <a:ext cx="855678" cy="641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809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35" r:id="rId2"/>
    <p:sldLayoutId id="2147483671" r:id="rId3"/>
    <p:sldLayoutId id="2147483690" r:id="rId4"/>
    <p:sldLayoutId id="2147483730" r:id="rId5"/>
    <p:sldLayoutId id="2147483718" r:id="rId6"/>
    <p:sldLayoutId id="2147483719" r:id="rId7"/>
    <p:sldLayoutId id="2147483712" r:id="rId8"/>
    <p:sldLayoutId id="2147483725" r:id="rId9"/>
    <p:sldLayoutId id="2147483711" r:id="rId10"/>
    <p:sldLayoutId id="2147483726" r:id="rId11"/>
    <p:sldLayoutId id="2147483731" r:id="rId12"/>
    <p:sldLayoutId id="2147483729" r:id="rId13"/>
    <p:sldLayoutId id="2147483720" r:id="rId14"/>
    <p:sldLayoutId id="2147483713" r:id="rId15"/>
    <p:sldLayoutId id="2147483727" r:id="rId16"/>
    <p:sldLayoutId id="2147483733" r:id="rId17"/>
    <p:sldLayoutId id="2147483732" r:id="rId18"/>
    <p:sldLayoutId id="2147483714" r:id="rId19"/>
    <p:sldLayoutId id="2147483728" r:id="rId20"/>
    <p:sldLayoutId id="2147483723" r:id="rId21"/>
    <p:sldLayoutId id="2147483724" r:id="rId22"/>
    <p:sldLayoutId id="2147483708" r:id="rId23"/>
    <p:sldLayoutId id="2147483709" r:id="rId24"/>
    <p:sldLayoutId id="2147483710" r:id="rId25"/>
    <p:sldLayoutId id="2147483707" r:id="rId26"/>
    <p:sldLayoutId id="2147483706" r:id="rId27"/>
    <p:sldLayoutId id="2147483694" r:id="rId28"/>
    <p:sldLayoutId id="2147483689" r:id="rId29"/>
    <p:sldLayoutId id="2147483703" r:id="rId30"/>
    <p:sldLayoutId id="2147483695" r:id="rId31"/>
    <p:sldLayoutId id="2147483750" r:id="rId32"/>
    <p:sldLayoutId id="2147483758" r:id="rId33"/>
    <p:sldLayoutId id="2147483780" r:id="rId34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None/>
        <a:defRPr sz="2900" b="0" kern="1200">
          <a:solidFill>
            <a:schemeClr val="accent6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anose="020B0604020202020204" pitchFamily="34" charset="0"/>
        <a:buNone/>
        <a:defRPr sz="1600" kern="1200">
          <a:solidFill>
            <a:schemeClr val="accent2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sz="12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396000" indent="0" algn="l" defTabSz="914400" rtl="0" eaLnBrk="1" latinLnBrk="0" hangingPunct="1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anose="020B0604020202020204" pitchFamily="34" charset="0"/>
        <a:buNone/>
        <a:defRPr sz="1400" kern="1200">
          <a:solidFill>
            <a:schemeClr val="accent2"/>
          </a:solidFill>
          <a:latin typeface="+mj-lt"/>
          <a:ea typeface="+mn-ea"/>
          <a:cs typeface="+mn-cs"/>
        </a:defRPr>
      </a:lvl3pPr>
      <a:lvl4pPr marL="396000" indent="0" algn="l" defTabSz="9144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None/>
        <a:defRPr sz="12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080000" indent="0" algn="l" defTabSz="914400" rtl="0" eaLnBrk="1" latinLnBrk="0" hangingPunct="1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anose="020B0604020202020204" pitchFamily="34" charset="0"/>
        <a:buNone/>
        <a:defRPr sz="1200" kern="1200">
          <a:solidFill>
            <a:schemeClr val="accent6"/>
          </a:solidFill>
          <a:latin typeface="+mj-lt"/>
          <a:ea typeface="+mn-ea"/>
          <a:cs typeface="+mn-cs"/>
        </a:defRPr>
      </a:lvl5pPr>
      <a:lvl6pPr marL="1080000" indent="0" algn="l" defTabSz="914400" rtl="0" eaLnBrk="1" latinLnBrk="0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50" kern="1200">
          <a:solidFill>
            <a:schemeClr val="accent6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110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27735354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026" name="Object 21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Image 8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gray">
          <a:xfrm>
            <a:off x="0" y="6318250"/>
            <a:ext cx="12192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351618" y="404814"/>
            <a:ext cx="9408583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824568" y="1989139"/>
            <a:ext cx="9935633" cy="4103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11760201" y="6705600"/>
            <a:ext cx="429684" cy="1524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eaLnBrk="1" hangingPunct="1">
              <a:defRPr sz="1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1ECACB1-26BA-463E-B1B2-9A7AD2A50BD5}" type="datetime1">
              <a:rPr lang="en-GB" altLang="fr-FR" smtClean="0"/>
              <a:t>14/02/2024</a:t>
            </a:fld>
            <a:endParaRPr lang="fr-FR" alt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0991851" y="6705600"/>
            <a:ext cx="768349" cy="1524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 smtClean="0">
                <a:solidFill>
                  <a:srgbClr val="9796A3"/>
                </a:solidFill>
              </a:defRPr>
            </a:lvl1pPr>
          </a:lstStyle>
          <a:p>
            <a:pPr>
              <a:defRPr/>
            </a:pPr>
            <a:fld id="{093D467B-37AB-4609-9C1A-7BDF7A8BE2EC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pic>
        <p:nvPicPr>
          <p:cNvPr id="1028" name="Image 7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 bwMode="gray">
          <a:xfrm>
            <a:off x="11212946" y="6308571"/>
            <a:ext cx="975688" cy="549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60162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749" r:id="rId3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rgbClr val="9796A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6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95288"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4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95288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9500"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80000" indent="0" algn="l" defTabSz="914400" rtl="0" eaLnBrk="1" latinLnBrk="0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50" kern="1200">
          <a:solidFill>
            <a:schemeClr val="accent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110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4841488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1026" name="Object 21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Image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gray">
          <a:xfrm>
            <a:off x="0" y="6318250"/>
            <a:ext cx="12192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351618" y="404814"/>
            <a:ext cx="9408583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Titr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11760201" y="6705600"/>
            <a:ext cx="429684" cy="1524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eaLnBrk="1" hangingPunct="1">
              <a:defRPr sz="1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D645343-24FC-42CB-8E18-E46341704AF3}" type="datetime1">
              <a:rPr lang="en-GB" altLang="fr-FR" smtClean="0"/>
              <a:t>14/02/2024</a:t>
            </a:fld>
            <a:endParaRPr lang="fr-FR" alt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0991851" y="6705600"/>
            <a:ext cx="768349" cy="1524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 smtClean="0">
                <a:solidFill>
                  <a:srgbClr val="9796A3"/>
                </a:solidFill>
              </a:defRPr>
            </a:lvl1pPr>
          </a:lstStyle>
          <a:p>
            <a:pPr>
              <a:defRPr/>
            </a:pPr>
            <a:fld id="{093D467B-37AB-4609-9C1A-7BDF7A8BE2EC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C2276660-130C-4062-A871-5723F825DB5A}"/>
              </a:ext>
            </a:extLst>
          </p:cNvPr>
          <p:cNvSpPr txBox="1">
            <a:spLocks/>
          </p:cNvSpPr>
          <p:nvPr userDrawn="1"/>
        </p:nvSpPr>
        <p:spPr>
          <a:xfrm>
            <a:off x="2351618" y="1814831"/>
            <a:ext cx="9935633" cy="4103687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defRPr sz="16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defRPr sz="12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95288"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5288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defRPr sz="12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9500"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defRPr sz="12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>
              <a:spcBef>
                <a:spcPts val="1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fr-FR" sz="2400"/>
              <a:t>Etat des lieux de la R&amp;D Biométhane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Font typeface="+mj-lt"/>
              <a:buNone/>
            </a:pPr>
            <a:r>
              <a:rPr lang="fr-FR" sz="2000">
                <a:solidFill>
                  <a:srgbClr val="9796A3"/>
                </a:solidFill>
              </a:rPr>
              <a:t>Axes de R&amp;D </a:t>
            </a:r>
            <a:r>
              <a:rPr lang="fr-FR" sz="2000">
                <a:solidFill>
                  <a:srgbClr val="9796A3"/>
                </a:solidFill>
                <a:sym typeface="Wingdings" panose="05000000000000000000" pitchFamily="2" charset="2"/>
              </a:rPr>
              <a:t> Partenariats  Livrables 2019  Livrables 2020</a:t>
            </a:r>
            <a:endParaRPr lang="fr-FR" sz="2000"/>
          </a:p>
          <a:p>
            <a:pPr marL="514350" indent="-514350">
              <a:spcBef>
                <a:spcPts val="1200"/>
              </a:spcBef>
              <a:spcAft>
                <a:spcPts val="200"/>
              </a:spcAft>
              <a:buFont typeface="+mj-lt"/>
              <a:buAutoNum type="arabicPeriod" startAt="2"/>
            </a:pPr>
            <a:r>
              <a:rPr lang="fr-FR" sz="2400"/>
              <a:t>Présentation des projets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Font typeface="+mj-lt"/>
              <a:buNone/>
            </a:pPr>
            <a:r>
              <a:rPr lang="fr-FR" sz="2000">
                <a:solidFill>
                  <a:srgbClr val="9796A3"/>
                </a:solidFill>
              </a:rPr>
              <a:t>Déroulement d’un projet </a:t>
            </a:r>
            <a:r>
              <a:rPr lang="fr-FR" sz="2000">
                <a:solidFill>
                  <a:srgbClr val="9796A3"/>
                </a:solidFill>
                <a:sym typeface="Wingdings" panose="05000000000000000000" pitchFamily="2" charset="2"/>
              </a:rPr>
              <a:t> </a:t>
            </a:r>
            <a:r>
              <a:rPr lang="fr-FR" sz="2000">
                <a:solidFill>
                  <a:srgbClr val="9796A3"/>
                </a:solidFill>
              </a:rPr>
              <a:t>Projets à lancer </a:t>
            </a:r>
            <a:r>
              <a:rPr lang="fr-FR" sz="2000">
                <a:solidFill>
                  <a:srgbClr val="9796A3"/>
                </a:solidFill>
                <a:sym typeface="Wingdings" panose="05000000000000000000" pitchFamily="2" charset="2"/>
              </a:rPr>
              <a:t> Projets à valider</a:t>
            </a:r>
            <a:endParaRPr lang="fr-FR" sz="2000"/>
          </a:p>
          <a:p>
            <a:pPr marL="514350" indent="-514350">
              <a:spcBef>
                <a:spcPts val="1200"/>
              </a:spcBef>
              <a:spcAft>
                <a:spcPts val="600"/>
              </a:spcAft>
              <a:buFont typeface="+mj-lt"/>
              <a:buAutoNum type="arabicPeriod" startAt="3"/>
            </a:pPr>
            <a:r>
              <a:rPr lang="fr-FR" sz="2400"/>
              <a:t>Appels à projets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Font typeface="+mj-lt"/>
              <a:buNone/>
            </a:pPr>
            <a:r>
              <a:rPr lang="fr-FR" sz="2000">
                <a:solidFill>
                  <a:srgbClr val="9796A3"/>
                </a:solidFill>
              </a:rPr>
              <a:t>Monitoring </a:t>
            </a:r>
            <a:r>
              <a:rPr lang="fr-FR" sz="2000">
                <a:solidFill>
                  <a:srgbClr val="9796A3"/>
                </a:solidFill>
                <a:sym typeface="Wingdings" panose="05000000000000000000" pitchFamily="2" charset="2"/>
              </a:rPr>
              <a:t> </a:t>
            </a:r>
            <a:r>
              <a:rPr lang="fr-FR" sz="2000">
                <a:solidFill>
                  <a:srgbClr val="9796A3"/>
                </a:solidFill>
              </a:rPr>
              <a:t>Valorisation du CO2 et CH4 </a:t>
            </a:r>
            <a:r>
              <a:rPr lang="fr-FR" sz="2000">
                <a:solidFill>
                  <a:srgbClr val="9796A3"/>
                </a:solidFill>
                <a:sym typeface="Wingdings" panose="05000000000000000000" pitchFamily="2" charset="2"/>
              </a:rPr>
              <a:t> </a:t>
            </a:r>
            <a:r>
              <a:rPr lang="fr-FR" sz="2000">
                <a:solidFill>
                  <a:srgbClr val="9796A3"/>
                </a:solidFill>
              </a:rPr>
              <a:t>Procédés de méthanisation</a:t>
            </a:r>
          </a:p>
          <a:p>
            <a:pPr marL="514350" indent="-514350">
              <a:spcBef>
                <a:spcPts val="1200"/>
              </a:spcBef>
              <a:spcAft>
                <a:spcPts val="200"/>
              </a:spcAft>
              <a:buFont typeface="+mj-lt"/>
              <a:buAutoNum type="arabicPeriod" startAt="4"/>
            </a:pPr>
            <a:r>
              <a:rPr lang="fr-FR" sz="2400"/>
              <a:t>Organisation R&amp;D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Font typeface="+mj-lt"/>
              <a:buNone/>
            </a:pPr>
            <a:r>
              <a:rPr lang="fr-FR" sz="2000">
                <a:solidFill>
                  <a:srgbClr val="9796A3"/>
                </a:solidFill>
              </a:rPr>
              <a:t>Budget 2020 </a:t>
            </a:r>
            <a:r>
              <a:rPr lang="fr-FR" sz="2000">
                <a:solidFill>
                  <a:srgbClr val="9796A3"/>
                </a:solidFill>
                <a:sym typeface="Wingdings" panose="05000000000000000000" pitchFamily="2" charset="2"/>
              </a:rPr>
              <a:t> </a:t>
            </a:r>
            <a:r>
              <a:rPr lang="fr-FR" sz="2000">
                <a:solidFill>
                  <a:srgbClr val="9796A3"/>
                </a:solidFill>
              </a:rPr>
              <a:t>Communication interne &amp; externe</a:t>
            </a:r>
            <a:endParaRPr lang="fr-FR">
              <a:solidFill>
                <a:srgbClr val="9796A3"/>
              </a:solidFill>
            </a:endParaRPr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</p:txBody>
      </p:sp>
      <p:sp>
        <p:nvSpPr>
          <p:cNvPr id="12" name="Espace réservé du contenu 2">
            <a:extLst>
              <a:ext uri="{FF2B5EF4-FFF2-40B4-BE49-F238E27FC236}">
                <a16:creationId xmlns:a16="http://schemas.microsoft.com/office/drawing/2014/main" id="{16ED4EFA-C84B-4FAD-89AF-96E9A1FAF3BA}"/>
              </a:ext>
            </a:extLst>
          </p:cNvPr>
          <p:cNvSpPr txBox="1">
            <a:spLocks/>
          </p:cNvSpPr>
          <p:nvPr userDrawn="1"/>
        </p:nvSpPr>
        <p:spPr>
          <a:xfrm>
            <a:off x="10752885" y="1814831"/>
            <a:ext cx="1562580" cy="410368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defRPr sz="16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defRPr sz="12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395288"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defRPr sz="1400" kern="120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395288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 typeface="Arial" pitchFamily="34" charset="0"/>
              <a:defRPr sz="12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079500" algn="l" rtl="0" eaLnBrk="0" fontAlgn="base" hangingPunct="0">
              <a:lnSpc>
                <a:spcPct val="110000"/>
              </a:lnSpc>
              <a:spcBef>
                <a:spcPts val="1500"/>
              </a:spcBef>
              <a:spcAft>
                <a:spcPts val="800"/>
              </a:spcAft>
              <a:buClr>
                <a:schemeClr val="accent1"/>
              </a:buClr>
              <a:buSzPct val="100000"/>
              <a:buFont typeface="Arial" pitchFamily="34" charset="0"/>
              <a:defRPr sz="1200" kern="1200">
                <a:solidFill>
                  <a:srgbClr val="9796A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08000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1050" kern="1200">
                <a:solidFill>
                  <a:schemeClr val="accent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spcAft>
                <a:spcPts val="200"/>
              </a:spcAft>
              <a:buFont typeface="+mj-lt"/>
              <a:buNone/>
            </a:pPr>
            <a:r>
              <a:rPr lang="fr-FR" sz="2400"/>
              <a:t>p. 3</a:t>
            </a:r>
          </a:p>
          <a:p>
            <a:pPr marL="0" indent="0">
              <a:spcBef>
                <a:spcPts val="1200"/>
              </a:spcBef>
              <a:spcAft>
                <a:spcPts val="200"/>
              </a:spcAft>
              <a:buFont typeface="+mj-lt"/>
              <a:buNone/>
            </a:pPr>
            <a:endParaRPr lang="fr-FR" sz="2000"/>
          </a:p>
          <a:p>
            <a:pPr marL="0" indent="0">
              <a:spcBef>
                <a:spcPts val="1200"/>
              </a:spcBef>
              <a:spcAft>
                <a:spcPts val="200"/>
              </a:spcAft>
              <a:buFont typeface="+mj-lt"/>
              <a:buNone/>
            </a:pPr>
            <a:r>
              <a:rPr lang="fr-FR" sz="2400"/>
              <a:t>p. 9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Font typeface="+mj-lt"/>
              <a:buNone/>
            </a:pPr>
            <a:endParaRPr lang="fr-FR" sz="2000"/>
          </a:p>
          <a:p>
            <a:pPr marL="0" indent="0">
              <a:spcBef>
                <a:spcPts val="1200"/>
              </a:spcBef>
              <a:spcAft>
                <a:spcPts val="200"/>
              </a:spcAft>
              <a:buFont typeface="+mj-lt"/>
              <a:buNone/>
            </a:pPr>
            <a:r>
              <a:rPr lang="fr-FR" sz="2400"/>
              <a:t>p. 48</a:t>
            </a:r>
          </a:p>
          <a:p>
            <a:pPr marL="0" indent="0">
              <a:spcBef>
                <a:spcPts val="200"/>
              </a:spcBef>
              <a:spcAft>
                <a:spcPts val="200"/>
              </a:spcAft>
              <a:buFont typeface="+mj-lt"/>
              <a:buNone/>
            </a:pPr>
            <a:endParaRPr lang="fr-FR" sz="2000"/>
          </a:p>
          <a:p>
            <a:pPr marL="0" indent="0">
              <a:spcBef>
                <a:spcPts val="1200"/>
              </a:spcBef>
              <a:spcAft>
                <a:spcPts val="200"/>
              </a:spcAft>
              <a:buFont typeface="+mj-lt"/>
              <a:buNone/>
            </a:pPr>
            <a:r>
              <a:rPr lang="fr-FR" sz="2400"/>
              <a:t>p. 53</a:t>
            </a:r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17182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rgbClr val="9796A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6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95288"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4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95288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9500"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80000" indent="0" algn="l" defTabSz="914400" rtl="0" eaLnBrk="1" latinLnBrk="0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50" kern="1200">
          <a:solidFill>
            <a:schemeClr val="accent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11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026" name="Object 21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9" name="Image 8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gray">
          <a:xfrm>
            <a:off x="0" y="6318250"/>
            <a:ext cx="1219200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0" name="Espace réservé du titre 1"/>
          <p:cNvSpPr>
            <a:spLocks noGrp="1"/>
          </p:cNvSpPr>
          <p:nvPr>
            <p:ph type="title"/>
          </p:nvPr>
        </p:nvSpPr>
        <p:spPr bwMode="gray">
          <a:xfrm>
            <a:off x="2351618" y="404814"/>
            <a:ext cx="9408583" cy="115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/>
              <a:t>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 bwMode="gray">
          <a:xfrm>
            <a:off x="1824568" y="1989139"/>
            <a:ext cx="9935633" cy="41036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fr-FR" noProof="0"/>
              <a:t>Texte de niveau 1</a:t>
            </a:r>
          </a:p>
          <a:p>
            <a:pPr lvl="1"/>
            <a:r>
              <a:rPr lang="fr-FR" noProof="0"/>
              <a:t>Texte de niveau 2</a:t>
            </a:r>
          </a:p>
          <a:p>
            <a:pPr lvl="2"/>
            <a:r>
              <a:rPr lang="fr-FR" noProof="0"/>
              <a:t>Texte de niveau 3</a:t>
            </a:r>
          </a:p>
          <a:p>
            <a:pPr lvl="3"/>
            <a:r>
              <a:rPr lang="fr-FR" noProof="0"/>
              <a:t>Texte de niveau 4</a:t>
            </a:r>
          </a:p>
          <a:p>
            <a:pPr lvl="4"/>
            <a:r>
              <a:rPr lang="fr-FR" noProof="0"/>
              <a:t>Texte de niveau 5</a:t>
            </a:r>
          </a:p>
          <a:p>
            <a:pPr lvl="5"/>
            <a:r>
              <a:rPr lang="fr-FR" noProof="0"/>
              <a:t>Texte de niveau 6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 bwMode="gray">
          <a:xfrm>
            <a:off x="11760201" y="6705600"/>
            <a:ext cx="429684" cy="1524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eaLnBrk="1" hangingPunct="1">
              <a:defRPr sz="1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56146BD9-BF1A-4E94-BB27-D3D65452855D}" type="datetime1">
              <a:rPr lang="en-GB" altLang="fr-FR" smtClean="0"/>
              <a:t>14/02/2024</a:t>
            </a:fld>
            <a:endParaRPr lang="fr-FR" alt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 bwMode="gray">
          <a:xfrm>
            <a:off x="10991851" y="6705600"/>
            <a:ext cx="768349" cy="1524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r" eaLnBrk="1" hangingPunct="1">
              <a:defRPr sz="800" smtClean="0">
                <a:solidFill>
                  <a:srgbClr val="9796A3"/>
                </a:solidFill>
              </a:defRPr>
            </a:lvl1pPr>
          </a:lstStyle>
          <a:p>
            <a:pPr>
              <a:defRPr/>
            </a:pPr>
            <a:fld id="{093D467B-37AB-4609-9C1A-7BDF7A8BE2EC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96468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rgbClr val="9796A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900">
          <a:solidFill>
            <a:srgbClr val="9796A3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6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95288"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400" kern="120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95288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079500" algn="l" rtl="0" eaLnBrk="0" fontAlgn="base" hangingPunct="0">
        <a:lnSpc>
          <a:spcPct val="110000"/>
        </a:lnSpc>
        <a:spcBef>
          <a:spcPts val="1500"/>
        </a:spcBef>
        <a:spcAft>
          <a:spcPts val="800"/>
        </a:spcAft>
        <a:buClr>
          <a:schemeClr val="accent1"/>
        </a:buClr>
        <a:buSzPct val="100000"/>
        <a:buFont typeface="Arial" pitchFamily="34" charset="0"/>
        <a:defRPr sz="1200" kern="1200">
          <a:solidFill>
            <a:srgbClr val="9796A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080000" indent="0" algn="l" defTabSz="914400" rtl="0" eaLnBrk="1" latinLnBrk="0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50" kern="1200">
          <a:solidFill>
            <a:schemeClr val="accent6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86718" y="225425"/>
            <a:ext cx="11189345" cy="1398657"/>
          </a:xfrm>
          <a:prstGeom prst="rect">
            <a:avLst/>
          </a:prstGeom>
        </p:spPr>
        <p:txBody>
          <a:bodyPr vert="horz" lIns="72000" tIns="45720" rIns="72000" bIns="45720" rtlCol="0" anchor="t">
            <a:no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86717" y="1828800"/>
            <a:ext cx="11189345" cy="4271749"/>
          </a:xfrm>
          <a:prstGeom prst="rect">
            <a:avLst/>
          </a:prstGeom>
        </p:spPr>
        <p:txBody>
          <a:bodyPr vert="horz" lIns="72000" tIns="45720" rIns="90000" bIns="45720" rtlCol="0" anchor="t">
            <a:no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0"/>
            <a:r>
              <a:rPr lang="fr-FR"/>
              <a:t>Deuxième niveau</a:t>
            </a:r>
          </a:p>
          <a:p>
            <a:pPr lvl="0"/>
            <a:r>
              <a:rPr lang="fr-FR"/>
              <a:t>Troisième niveau</a:t>
            </a:r>
          </a:p>
          <a:p>
            <a:pPr lvl="0"/>
            <a:r>
              <a:rPr lang="fr-FR"/>
              <a:t>Quatrième niveau</a:t>
            </a:r>
          </a:p>
          <a:p>
            <a:pPr lvl="0"/>
            <a:r>
              <a:rPr lang="fr-FR"/>
              <a:t>Cinquième niveau</a:t>
            </a: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79424" y="6267449"/>
            <a:ext cx="53251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2"/>
                </a:solidFill>
                <a:latin typeface="Avenir Book" panose="02000503020000020003" pitchFamily="2" charset="0"/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804623" y="6267448"/>
            <a:ext cx="5827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accent2"/>
                </a:solidFill>
                <a:latin typeface="Avenir Book" panose="02000503020000020003" pitchFamily="2" charset="0"/>
              </a:defRPr>
            </a:lvl1pPr>
          </a:lstStyle>
          <a:p>
            <a:fld id="{82DB2F9C-E71B-B545-B257-E1C65CA446D5}" type="slidenum">
              <a:rPr lang="fr-FR" smtClean="0"/>
              <a:t>‹N°›</a:t>
            </a:fld>
            <a:endParaRPr lang="fr-FR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10797141" y="6257836"/>
            <a:ext cx="889196" cy="371981"/>
            <a:chOff x="480261" y="2299035"/>
            <a:chExt cx="1717823" cy="718624"/>
          </a:xfrm>
        </p:grpSpPr>
        <p:sp>
          <p:nvSpPr>
            <p:cNvPr id="10" name="Forme libre : forme 9"/>
            <p:cNvSpPr/>
            <p:nvPr userDrawn="1"/>
          </p:nvSpPr>
          <p:spPr>
            <a:xfrm>
              <a:off x="1194037" y="2951368"/>
              <a:ext cx="293458" cy="66291"/>
            </a:xfrm>
            <a:custGeom>
              <a:avLst/>
              <a:gdLst>
                <a:gd name="connsiteX0" fmla="*/ 293808 w 293458"/>
                <a:gd name="connsiteY0" fmla="*/ 55126 h 66290"/>
                <a:gd name="connsiteX1" fmla="*/ 279484 w 293458"/>
                <a:gd name="connsiteY1" fmla="*/ 69431 h 66290"/>
                <a:gd name="connsiteX2" fmla="*/ 14324 w 293458"/>
                <a:gd name="connsiteY2" fmla="*/ 69431 h 66290"/>
                <a:gd name="connsiteX3" fmla="*/ 0 w 293458"/>
                <a:gd name="connsiteY3" fmla="*/ 55126 h 66290"/>
                <a:gd name="connsiteX4" fmla="*/ 0 w 293458"/>
                <a:gd name="connsiteY4" fmla="*/ 14305 h 66290"/>
                <a:gd name="connsiteX5" fmla="*/ 14324 w 293458"/>
                <a:gd name="connsiteY5" fmla="*/ 0 h 66290"/>
                <a:gd name="connsiteX6" fmla="*/ 279484 w 293458"/>
                <a:gd name="connsiteY6" fmla="*/ 0 h 66290"/>
                <a:gd name="connsiteX7" fmla="*/ 293808 w 293458"/>
                <a:gd name="connsiteY7" fmla="*/ 14305 h 66290"/>
                <a:gd name="connsiteX8" fmla="*/ 293808 w 293458"/>
                <a:gd name="connsiteY8" fmla="*/ 55126 h 66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93458" h="66290">
                  <a:moveTo>
                    <a:pt x="293808" y="55126"/>
                  </a:moveTo>
                  <a:cubicBezTo>
                    <a:pt x="293808" y="63151"/>
                    <a:pt x="287170" y="69431"/>
                    <a:pt x="279484" y="69431"/>
                  </a:cubicBezTo>
                  <a:lnTo>
                    <a:pt x="14324" y="69431"/>
                  </a:lnTo>
                  <a:cubicBezTo>
                    <a:pt x="6638" y="69431"/>
                    <a:pt x="0" y="63151"/>
                    <a:pt x="0" y="55126"/>
                  </a:cubicBezTo>
                  <a:lnTo>
                    <a:pt x="0" y="14305"/>
                  </a:lnTo>
                  <a:cubicBezTo>
                    <a:pt x="0" y="6280"/>
                    <a:pt x="6288" y="0"/>
                    <a:pt x="14324" y="0"/>
                  </a:cubicBezTo>
                  <a:lnTo>
                    <a:pt x="279484" y="0"/>
                  </a:lnTo>
                  <a:cubicBezTo>
                    <a:pt x="287170" y="0"/>
                    <a:pt x="293808" y="6280"/>
                    <a:pt x="293808" y="14305"/>
                  </a:cubicBezTo>
                  <a:lnTo>
                    <a:pt x="293808" y="55126"/>
                  </a:lnTo>
                  <a:close/>
                </a:path>
              </a:pathLst>
            </a:custGeom>
            <a:solidFill>
              <a:srgbClr val="EE9F00"/>
            </a:solidFill>
            <a:ln w="3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fr-FR"/>
            </a:p>
          </p:txBody>
        </p:sp>
        <p:grpSp>
          <p:nvGrpSpPr>
            <p:cNvPr id="11" name="Groupe 10"/>
            <p:cNvGrpSpPr/>
            <p:nvPr userDrawn="1"/>
          </p:nvGrpSpPr>
          <p:grpSpPr>
            <a:xfrm>
              <a:off x="480261" y="2299035"/>
              <a:ext cx="1717823" cy="495436"/>
              <a:chOff x="491958" y="259703"/>
              <a:chExt cx="1717823" cy="495436"/>
            </a:xfrm>
          </p:grpSpPr>
          <p:sp>
            <p:nvSpPr>
              <p:cNvPr id="12" name="Forme libre : forme 11"/>
              <p:cNvSpPr/>
              <p:nvPr/>
            </p:nvSpPr>
            <p:spPr>
              <a:xfrm>
                <a:off x="967736" y="261099"/>
                <a:ext cx="352849" cy="265163"/>
              </a:xfrm>
              <a:custGeom>
                <a:avLst/>
                <a:gdLst>
                  <a:gd name="connsiteX0" fmla="*/ 148563 w 352848"/>
                  <a:gd name="connsiteY0" fmla="*/ 105716 h 265162"/>
                  <a:gd name="connsiteX1" fmla="*/ 205508 w 352848"/>
                  <a:gd name="connsiteY1" fmla="*/ 106065 h 265162"/>
                  <a:gd name="connsiteX2" fmla="*/ 213893 w 352848"/>
                  <a:gd name="connsiteY2" fmla="*/ 106065 h 265162"/>
                  <a:gd name="connsiteX3" fmla="*/ 264899 w 352848"/>
                  <a:gd name="connsiteY3" fmla="*/ 151073 h 265162"/>
                  <a:gd name="connsiteX4" fmla="*/ 264899 w 352848"/>
                  <a:gd name="connsiteY4" fmla="*/ 267256 h 265162"/>
                  <a:gd name="connsiteX5" fmla="*/ 268392 w 352848"/>
                  <a:gd name="connsiteY5" fmla="*/ 266558 h 265162"/>
                  <a:gd name="connsiteX6" fmla="*/ 282017 w 352848"/>
                  <a:gd name="connsiteY6" fmla="*/ 261674 h 265162"/>
                  <a:gd name="connsiteX7" fmla="*/ 282716 w 352848"/>
                  <a:gd name="connsiteY7" fmla="*/ 261325 h 265162"/>
                  <a:gd name="connsiteX8" fmla="*/ 284462 w 352848"/>
                  <a:gd name="connsiteY8" fmla="*/ 260278 h 265162"/>
                  <a:gd name="connsiteX9" fmla="*/ 285161 w 352848"/>
                  <a:gd name="connsiteY9" fmla="*/ 259929 h 265162"/>
                  <a:gd name="connsiteX10" fmla="*/ 285860 w 352848"/>
                  <a:gd name="connsiteY10" fmla="*/ 259580 h 265162"/>
                  <a:gd name="connsiteX11" fmla="*/ 355731 w 352848"/>
                  <a:gd name="connsiteY11" fmla="*/ 143746 h 265162"/>
                  <a:gd name="connsiteX12" fmla="*/ 353984 w 352848"/>
                  <a:gd name="connsiteY12" fmla="*/ 120719 h 265162"/>
                  <a:gd name="connsiteX13" fmla="*/ 350840 w 352848"/>
                  <a:gd name="connsiteY13" fmla="*/ 104321 h 265162"/>
                  <a:gd name="connsiteX14" fmla="*/ 282716 w 352848"/>
                  <a:gd name="connsiteY14" fmla="*/ 20585 h 265162"/>
                  <a:gd name="connsiteX15" fmla="*/ 264899 w 352848"/>
                  <a:gd name="connsiteY15" fmla="*/ 12909 h 265162"/>
                  <a:gd name="connsiteX16" fmla="*/ 163586 w 352848"/>
                  <a:gd name="connsiteY16" fmla="*/ 0 h 265162"/>
                  <a:gd name="connsiteX17" fmla="*/ 437 w 352848"/>
                  <a:gd name="connsiteY17" fmla="*/ 0 h 265162"/>
                  <a:gd name="connsiteX18" fmla="*/ 87 w 352848"/>
                  <a:gd name="connsiteY18" fmla="*/ 1047 h 265162"/>
                  <a:gd name="connsiteX19" fmla="*/ 10917 w 352848"/>
                  <a:gd name="connsiteY19" fmla="*/ 18841 h 265162"/>
                  <a:gd name="connsiteX20" fmla="*/ 137733 w 352848"/>
                  <a:gd name="connsiteY20" fmla="*/ 105367 h 265162"/>
                  <a:gd name="connsiteX21" fmla="*/ 148563 w 352848"/>
                  <a:gd name="connsiteY21" fmla="*/ 105716 h 2651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352848" h="265162">
                    <a:moveTo>
                      <a:pt x="148563" y="105716"/>
                    </a:moveTo>
                    <a:lnTo>
                      <a:pt x="205508" y="106065"/>
                    </a:lnTo>
                    <a:cubicBezTo>
                      <a:pt x="208652" y="106414"/>
                      <a:pt x="211447" y="106065"/>
                      <a:pt x="213893" y="106065"/>
                    </a:cubicBezTo>
                    <a:cubicBezTo>
                      <a:pt x="232059" y="106065"/>
                      <a:pt x="263501" y="115485"/>
                      <a:pt x="264899" y="151073"/>
                    </a:cubicBezTo>
                    <a:lnTo>
                      <a:pt x="264899" y="267256"/>
                    </a:lnTo>
                    <a:cubicBezTo>
                      <a:pt x="265947" y="266907"/>
                      <a:pt x="266995" y="266558"/>
                      <a:pt x="268392" y="266558"/>
                    </a:cubicBezTo>
                    <a:cubicBezTo>
                      <a:pt x="272584" y="265512"/>
                      <a:pt x="277475" y="264116"/>
                      <a:pt x="282017" y="261674"/>
                    </a:cubicBezTo>
                    <a:cubicBezTo>
                      <a:pt x="282017" y="261674"/>
                      <a:pt x="282716" y="261325"/>
                      <a:pt x="282716" y="261325"/>
                    </a:cubicBezTo>
                    <a:cubicBezTo>
                      <a:pt x="283414" y="260976"/>
                      <a:pt x="283764" y="260627"/>
                      <a:pt x="284462" y="260278"/>
                    </a:cubicBezTo>
                    <a:cubicBezTo>
                      <a:pt x="284812" y="259929"/>
                      <a:pt x="284812" y="259929"/>
                      <a:pt x="285161" y="259929"/>
                    </a:cubicBezTo>
                    <a:cubicBezTo>
                      <a:pt x="285161" y="259929"/>
                      <a:pt x="285860" y="259580"/>
                      <a:pt x="285860" y="259580"/>
                    </a:cubicBezTo>
                    <a:cubicBezTo>
                      <a:pt x="326385" y="236204"/>
                      <a:pt x="355731" y="202710"/>
                      <a:pt x="355731" y="143746"/>
                    </a:cubicBezTo>
                    <a:cubicBezTo>
                      <a:pt x="355731" y="135721"/>
                      <a:pt x="355032" y="128046"/>
                      <a:pt x="353984" y="120719"/>
                    </a:cubicBezTo>
                    <a:cubicBezTo>
                      <a:pt x="353285" y="115136"/>
                      <a:pt x="352237" y="109554"/>
                      <a:pt x="350840" y="104321"/>
                    </a:cubicBezTo>
                    <a:cubicBezTo>
                      <a:pt x="341407" y="66640"/>
                      <a:pt x="317651" y="36983"/>
                      <a:pt x="282716" y="20585"/>
                    </a:cubicBezTo>
                    <a:cubicBezTo>
                      <a:pt x="276427" y="17794"/>
                      <a:pt x="270488" y="15003"/>
                      <a:pt x="264899" y="12909"/>
                    </a:cubicBezTo>
                    <a:cubicBezTo>
                      <a:pt x="240793" y="3489"/>
                      <a:pt x="218085" y="0"/>
                      <a:pt x="163586" y="0"/>
                    </a:cubicBezTo>
                    <a:lnTo>
                      <a:pt x="437" y="0"/>
                    </a:lnTo>
                    <a:cubicBezTo>
                      <a:pt x="-262" y="0"/>
                      <a:pt x="87" y="1047"/>
                      <a:pt x="87" y="1047"/>
                    </a:cubicBezTo>
                    <a:cubicBezTo>
                      <a:pt x="3581" y="7327"/>
                      <a:pt x="7074" y="13258"/>
                      <a:pt x="10917" y="18841"/>
                    </a:cubicBezTo>
                    <a:cubicBezTo>
                      <a:pt x="27337" y="46752"/>
                      <a:pt x="67513" y="100483"/>
                      <a:pt x="137733" y="105367"/>
                    </a:cubicBezTo>
                    <a:cubicBezTo>
                      <a:pt x="141227" y="105716"/>
                      <a:pt x="144720" y="105716"/>
                      <a:pt x="148563" y="105716"/>
                    </a:cubicBezTo>
                  </a:path>
                </a:pathLst>
              </a:custGeom>
              <a:solidFill>
                <a:srgbClr val="1D92BA"/>
              </a:solidFill>
              <a:ln w="34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3" name="Forme libre : forme 12"/>
              <p:cNvSpPr/>
              <p:nvPr/>
            </p:nvSpPr>
            <p:spPr>
              <a:xfrm>
                <a:off x="1867413" y="260750"/>
                <a:ext cx="342368" cy="240740"/>
              </a:xfrm>
              <a:custGeom>
                <a:avLst/>
                <a:gdLst>
                  <a:gd name="connsiteX0" fmla="*/ 0 w 342368"/>
                  <a:gd name="connsiteY0" fmla="*/ 0 h 240739"/>
                  <a:gd name="connsiteX1" fmla="*/ 0 w 342368"/>
                  <a:gd name="connsiteY1" fmla="*/ 243182 h 240739"/>
                  <a:gd name="connsiteX2" fmla="*/ 110746 w 342368"/>
                  <a:gd name="connsiteY2" fmla="*/ 215619 h 240739"/>
                  <a:gd name="connsiteX3" fmla="*/ 110746 w 342368"/>
                  <a:gd name="connsiteY3" fmla="*/ 106065 h 240739"/>
                  <a:gd name="connsiteX4" fmla="*/ 197386 w 342368"/>
                  <a:gd name="connsiteY4" fmla="*/ 106065 h 240739"/>
                  <a:gd name="connsiteX5" fmla="*/ 344115 w 342368"/>
                  <a:gd name="connsiteY5" fmla="*/ 0 h 240739"/>
                  <a:gd name="connsiteX6" fmla="*/ 0 w 342368"/>
                  <a:gd name="connsiteY6" fmla="*/ 0 h 240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2368" h="240739">
                    <a:moveTo>
                      <a:pt x="0" y="0"/>
                    </a:moveTo>
                    <a:lnTo>
                      <a:pt x="0" y="243182"/>
                    </a:lnTo>
                    <a:cubicBezTo>
                      <a:pt x="21660" y="225040"/>
                      <a:pt x="56596" y="219108"/>
                      <a:pt x="110746" y="215619"/>
                    </a:cubicBezTo>
                    <a:lnTo>
                      <a:pt x="110746" y="106065"/>
                    </a:lnTo>
                    <a:lnTo>
                      <a:pt x="197386" y="106065"/>
                    </a:lnTo>
                    <a:cubicBezTo>
                      <a:pt x="242802" y="103972"/>
                      <a:pt x="344115" y="90365"/>
                      <a:pt x="344115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EA144"/>
              </a:solidFill>
              <a:ln w="34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4" name="Forme libre : forme 13"/>
              <p:cNvSpPr/>
              <p:nvPr/>
            </p:nvSpPr>
            <p:spPr>
              <a:xfrm>
                <a:off x="1867413" y="473927"/>
                <a:ext cx="282978" cy="279119"/>
              </a:xfrm>
              <a:custGeom>
                <a:avLst/>
                <a:gdLst>
                  <a:gd name="connsiteX0" fmla="*/ 285074 w 282977"/>
                  <a:gd name="connsiteY0" fmla="*/ 0 h 279118"/>
                  <a:gd name="connsiteX1" fmla="*/ 262016 w 282977"/>
                  <a:gd name="connsiteY1" fmla="*/ 0 h 279118"/>
                  <a:gd name="connsiteX2" fmla="*/ 0 w 282977"/>
                  <a:gd name="connsiteY2" fmla="*/ 158749 h 279118"/>
                  <a:gd name="connsiteX3" fmla="*/ 0 w 282977"/>
                  <a:gd name="connsiteY3" fmla="*/ 281212 h 279118"/>
                  <a:gd name="connsiteX4" fmla="*/ 37032 w 282977"/>
                  <a:gd name="connsiteY4" fmla="*/ 281212 h 279118"/>
                  <a:gd name="connsiteX5" fmla="*/ 110396 w 282977"/>
                  <a:gd name="connsiteY5" fmla="*/ 182474 h 279118"/>
                  <a:gd name="connsiteX6" fmla="*/ 110396 w 282977"/>
                  <a:gd name="connsiteY6" fmla="*/ 98738 h 279118"/>
                  <a:gd name="connsiteX7" fmla="*/ 153367 w 282977"/>
                  <a:gd name="connsiteY7" fmla="*/ 98738 h 279118"/>
                  <a:gd name="connsiteX8" fmla="*/ 284725 w 282977"/>
                  <a:gd name="connsiteY8" fmla="*/ 22678 h 279118"/>
                  <a:gd name="connsiteX9" fmla="*/ 285074 w 282977"/>
                  <a:gd name="connsiteY9" fmla="*/ 0 h 27911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2977" h="279118">
                    <a:moveTo>
                      <a:pt x="285074" y="0"/>
                    </a:moveTo>
                    <a:lnTo>
                      <a:pt x="262016" y="0"/>
                    </a:lnTo>
                    <a:cubicBezTo>
                      <a:pt x="197036" y="1396"/>
                      <a:pt x="10481" y="17445"/>
                      <a:pt x="0" y="158749"/>
                    </a:cubicBezTo>
                    <a:lnTo>
                      <a:pt x="0" y="281212"/>
                    </a:lnTo>
                    <a:lnTo>
                      <a:pt x="37032" y="281212"/>
                    </a:lnTo>
                    <a:cubicBezTo>
                      <a:pt x="103409" y="279817"/>
                      <a:pt x="110396" y="211781"/>
                      <a:pt x="110396" y="182474"/>
                    </a:cubicBezTo>
                    <a:lnTo>
                      <a:pt x="110396" y="98738"/>
                    </a:lnTo>
                    <a:lnTo>
                      <a:pt x="153367" y="98738"/>
                    </a:lnTo>
                    <a:cubicBezTo>
                      <a:pt x="240706" y="98738"/>
                      <a:pt x="284725" y="73269"/>
                      <a:pt x="284725" y="22678"/>
                    </a:cubicBezTo>
                    <a:cubicBezTo>
                      <a:pt x="284725" y="16398"/>
                      <a:pt x="285074" y="0"/>
                      <a:pt x="285074" y="0"/>
                    </a:cubicBezTo>
                  </a:path>
                </a:pathLst>
              </a:custGeom>
              <a:solidFill>
                <a:srgbClr val="6EA144"/>
              </a:solidFill>
              <a:ln w="34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5" name="Forme libre : forme 14"/>
              <p:cNvSpPr/>
              <p:nvPr/>
            </p:nvSpPr>
            <p:spPr>
              <a:xfrm>
                <a:off x="1383906" y="261099"/>
                <a:ext cx="436694" cy="491947"/>
              </a:xfrm>
              <a:custGeom>
                <a:avLst/>
                <a:gdLst>
                  <a:gd name="connsiteX0" fmla="*/ 241055 w 436694"/>
                  <a:gd name="connsiteY0" fmla="*/ 0 h 491946"/>
                  <a:gd name="connsiteX1" fmla="*/ 0 w 436694"/>
                  <a:gd name="connsiteY1" fmla="*/ 0 h 491946"/>
                  <a:gd name="connsiteX2" fmla="*/ 0 w 436694"/>
                  <a:gd name="connsiteY2" fmla="*/ 494040 h 491946"/>
                  <a:gd name="connsiteX3" fmla="*/ 119130 w 436694"/>
                  <a:gd name="connsiteY3" fmla="*/ 385184 h 491946"/>
                  <a:gd name="connsiteX4" fmla="*/ 119130 w 436694"/>
                  <a:gd name="connsiteY4" fmla="*/ 105716 h 491946"/>
                  <a:gd name="connsiteX5" fmla="*/ 225334 w 436694"/>
                  <a:gd name="connsiteY5" fmla="*/ 105716 h 491946"/>
                  <a:gd name="connsiteX6" fmla="*/ 236514 w 436694"/>
                  <a:gd name="connsiteY6" fmla="*/ 106414 h 491946"/>
                  <a:gd name="connsiteX7" fmla="*/ 322106 w 436694"/>
                  <a:gd name="connsiteY7" fmla="*/ 235855 h 491946"/>
                  <a:gd name="connsiteX8" fmla="*/ 322106 w 436694"/>
                  <a:gd name="connsiteY8" fmla="*/ 253300 h 491946"/>
                  <a:gd name="connsiteX9" fmla="*/ 125069 w 436694"/>
                  <a:gd name="connsiteY9" fmla="*/ 486016 h 491946"/>
                  <a:gd name="connsiteX10" fmla="*/ 124720 w 436694"/>
                  <a:gd name="connsiteY10" fmla="*/ 486016 h 491946"/>
                  <a:gd name="connsiteX11" fmla="*/ 123322 w 436694"/>
                  <a:gd name="connsiteY11" fmla="*/ 487760 h 491946"/>
                  <a:gd name="connsiteX12" fmla="*/ 123322 w 436694"/>
                  <a:gd name="connsiteY12" fmla="*/ 492296 h 491946"/>
                  <a:gd name="connsiteX13" fmla="*/ 124720 w 436694"/>
                  <a:gd name="connsiteY13" fmla="*/ 494040 h 491946"/>
                  <a:gd name="connsiteX14" fmla="*/ 124720 w 436694"/>
                  <a:gd name="connsiteY14" fmla="*/ 494040 h 491946"/>
                  <a:gd name="connsiteX15" fmla="*/ 125069 w 436694"/>
                  <a:gd name="connsiteY15" fmla="*/ 494040 h 491946"/>
                  <a:gd name="connsiteX16" fmla="*/ 127864 w 436694"/>
                  <a:gd name="connsiteY16" fmla="*/ 494040 h 491946"/>
                  <a:gd name="connsiteX17" fmla="*/ 133104 w 436694"/>
                  <a:gd name="connsiteY17" fmla="*/ 494040 h 491946"/>
                  <a:gd name="connsiteX18" fmla="*/ 437043 w 436694"/>
                  <a:gd name="connsiteY18" fmla="*/ 248067 h 491946"/>
                  <a:gd name="connsiteX19" fmla="*/ 437043 w 436694"/>
                  <a:gd name="connsiteY19" fmla="*/ 243880 h 491946"/>
                  <a:gd name="connsiteX20" fmla="*/ 241055 w 436694"/>
                  <a:gd name="connsiteY20" fmla="*/ 0 h 4919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436694" h="491946">
                    <a:moveTo>
                      <a:pt x="241055" y="0"/>
                    </a:moveTo>
                    <a:lnTo>
                      <a:pt x="0" y="0"/>
                    </a:lnTo>
                    <a:lnTo>
                      <a:pt x="0" y="494040"/>
                    </a:lnTo>
                    <a:cubicBezTo>
                      <a:pt x="84195" y="483573"/>
                      <a:pt x="114938" y="443799"/>
                      <a:pt x="119130" y="385184"/>
                    </a:cubicBezTo>
                    <a:lnTo>
                      <a:pt x="119130" y="105716"/>
                    </a:lnTo>
                    <a:lnTo>
                      <a:pt x="225334" y="105716"/>
                    </a:lnTo>
                    <a:cubicBezTo>
                      <a:pt x="228828" y="106065"/>
                      <a:pt x="233719" y="106065"/>
                      <a:pt x="236514" y="106414"/>
                    </a:cubicBezTo>
                    <a:cubicBezTo>
                      <a:pt x="286821" y="112345"/>
                      <a:pt x="318961" y="134326"/>
                      <a:pt x="322106" y="235855"/>
                    </a:cubicBezTo>
                    <a:cubicBezTo>
                      <a:pt x="322804" y="241438"/>
                      <a:pt x="322106" y="248416"/>
                      <a:pt x="322106" y="253300"/>
                    </a:cubicBezTo>
                    <a:cubicBezTo>
                      <a:pt x="319660" y="417631"/>
                      <a:pt x="194591" y="467873"/>
                      <a:pt x="125069" y="486016"/>
                    </a:cubicBezTo>
                    <a:lnTo>
                      <a:pt x="124720" y="486016"/>
                    </a:lnTo>
                    <a:cubicBezTo>
                      <a:pt x="124021" y="486364"/>
                      <a:pt x="123322" y="486713"/>
                      <a:pt x="123322" y="487760"/>
                    </a:cubicBezTo>
                    <a:lnTo>
                      <a:pt x="123322" y="492296"/>
                    </a:lnTo>
                    <a:cubicBezTo>
                      <a:pt x="123322" y="493342"/>
                      <a:pt x="124021" y="494040"/>
                      <a:pt x="124720" y="494040"/>
                    </a:cubicBezTo>
                    <a:lnTo>
                      <a:pt x="124720" y="494040"/>
                    </a:lnTo>
                    <a:lnTo>
                      <a:pt x="125069" y="494040"/>
                    </a:lnTo>
                    <a:lnTo>
                      <a:pt x="127864" y="494040"/>
                    </a:lnTo>
                    <a:lnTo>
                      <a:pt x="133104" y="494040"/>
                    </a:lnTo>
                    <a:cubicBezTo>
                      <a:pt x="234068" y="494040"/>
                      <a:pt x="437043" y="469617"/>
                      <a:pt x="437043" y="248067"/>
                    </a:cubicBezTo>
                    <a:lnTo>
                      <a:pt x="437043" y="243880"/>
                    </a:lnTo>
                    <a:cubicBezTo>
                      <a:pt x="435646" y="51986"/>
                      <a:pt x="352849" y="0"/>
                      <a:pt x="241055" y="0"/>
                    </a:cubicBezTo>
                  </a:path>
                </a:pathLst>
              </a:custGeom>
              <a:solidFill>
                <a:srgbClr val="00A8A3"/>
              </a:solidFill>
              <a:ln w="34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6" name="Forme libre : forme 15"/>
              <p:cNvSpPr/>
              <p:nvPr/>
            </p:nvSpPr>
            <p:spPr>
              <a:xfrm>
                <a:off x="1021624" y="501838"/>
                <a:ext cx="321407" cy="251207"/>
              </a:xfrm>
              <a:custGeom>
                <a:avLst/>
                <a:gdLst>
                  <a:gd name="connsiteX0" fmla="*/ 99566 w 321406"/>
                  <a:gd name="connsiteY0" fmla="*/ 0 h 251206"/>
                  <a:gd name="connsiteX1" fmla="*/ 30394 w 321406"/>
                  <a:gd name="connsiteY1" fmla="*/ 0 h 251206"/>
                  <a:gd name="connsiteX2" fmla="*/ 0 w 321406"/>
                  <a:gd name="connsiteY2" fmla="*/ 31401 h 251206"/>
                  <a:gd name="connsiteX3" fmla="*/ 0 w 321406"/>
                  <a:gd name="connsiteY3" fmla="*/ 106065 h 251206"/>
                  <a:gd name="connsiteX4" fmla="*/ 103060 w 321406"/>
                  <a:gd name="connsiteY4" fmla="*/ 106065 h 251206"/>
                  <a:gd name="connsiteX5" fmla="*/ 137646 w 321406"/>
                  <a:gd name="connsiteY5" fmla="*/ 156655 h 251206"/>
                  <a:gd name="connsiteX6" fmla="*/ 164896 w 321406"/>
                  <a:gd name="connsiteY6" fmla="*/ 195034 h 251206"/>
                  <a:gd name="connsiteX7" fmla="*/ 250488 w 321406"/>
                  <a:gd name="connsiteY7" fmla="*/ 244927 h 251206"/>
                  <a:gd name="connsiteX8" fmla="*/ 317564 w 321406"/>
                  <a:gd name="connsiteY8" fmla="*/ 253300 h 251206"/>
                  <a:gd name="connsiteX9" fmla="*/ 323852 w 321406"/>
                  <a:gd name="connsiteY9" fmla="*/ 253649 h 251206"/>
                  <a:gd name="connsiteX10" fmla="*/ 323154 w 321406"/>
                  <a:gd name="connsiteY10" fmla="*/ 252602 h 251206"/>
                  <a:gd name="connsiteX11" fmla="*/ 298000 w 321406"/>
                  <a:gd name="connsiteY11" fmla="*/ 213177 h 251206"/>
                  <a:gd name="connsiteX12" fmla="*/ 198084 w 321406"/>
                  <a:gd name="connsiteY12" fmla="*/ 40123 h 251206"/>
                  <a:gd name="connsiteX13" fmla="*/ 150572 w 321406"/>
                  <a:gd name="connsiteY13" fmla="*/ 6280 h 251206"/>
                  <a:gd name="connsiteX14" fmla="*/ 150223 w 321406"/>
                  <a:gd name="connsiteY14" fmla="*/ 6280 h 251206"/>
                  <a:gd name="connsiteX15" fmla="*/ 111794 w 321406"/>
                  <a:gd name="connsiteY15" fmla="*/ 698 h 251206"/>
                  <a:gd name="connsiteX16" fmla="*/ 107951 w 321406"/>
                  <a:gd name="connsiteY16" fmla="*/ 349 h 251206"/>
                  <a:gd name="connsiteX17" fmla="*/ 99566 w 321406"/>
                  <a:gd name="connsiteY17" fmla="*/ 349 h 2512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321406" h="251206">
                    <a:moveTo>
                      <a:pt x="99566" y="0"/>
                    </a:moveTo>
                    <a:lnTo>
                      <a:pt x="30394" y="0"/>
                    </a:lnTo>
                    <a:cubicBezTo>
                      <a:pt x="2795" y="1047"/>
                      <a:pt x="349" y="26516"/>
                      <a:pt x="0" y="31401"/>
                    </a:cubicBezTo>
                    <a:lnTo>
                      <a:pt x="0" y="106065"/>
                    </a:lnTo>
                    <a:lnTo>
                      <a:pt x="103060" y="106065"/>
                    </a:lnTo>
                    <a:cubicBezTo>
                      <a:pt x="115287" y="123859"/>
                      <a:pt x="127165" y="141304"/>
                      <a:pt x="137646" y="156655"/>
                    </a:cubicBezTo>
                    <a:cubicBezTo>
                      <a:pt x="149175" y="173403"/>
                      <a:pt x="160354" y="189103"/>
                      <a:pt x="164896" y="195034"/>
                    </a:cubicBezTo>
                    <a:cubicBezTo>
                      <a:pt x="169437" y="201314"/>
                      <a:pt x="185158" y="228877"/>
                      <a:pt x="250488" y="244927"/>
                    </a:cubicBezTo>
                    <a:cubicBezTo>
                      <a:pt x="276689" y="251207"/>
                      <a:pt x="306385" y="252602"/>
                      <a:pt x="317564" y="253300"/>
                    </a:cubicBezTo>
                    <a:lnTo>
                      <a:pt x="323852" y="253649"/>
                    </a:lnTo>
                    <a:lnTo>
                      <a:pt x="323154" y="252602"/>
                    </a:lnTo>
                    <a:cubicBezTo>
                      <a:pt x="323154" y="252602"/>
                      <a:pt x="311974" y="237251"/>
                      <a:pt x="298000" y="213177"/>
                    </a:cubicBezTo>
                    <a:cubicBezTo>
                      <a:pt x="284026" y="189103"/>
                      <a:pt x="211360" y="63500"/>
                      <a:pt x="198084" y="40123"/>
                    </a:cubicBezTo>
                    <a:cubicBezTo>
                      <a:pt x="186905" y="20236"/>
                      <a:pt x="168739" y="11514"/>
                      <a:pt x="150572" y="6280"/>
                    </a:cubicBezTo>
                    <a:lnTo>
                      <a:pt x="150223" y="6280"/>
                    </a:lnTo>
                    <a:cubicBezTo>
                      <a:pt x="136947" y="2791"/>
                      <a:pt x="122624" y="1396"/>
                      <a:pt x="111794" y="698"/>
                    </a:cubicBezTo>
                    <a:cubicBezTo>
                      <a:pt x="110396" y="698"/>
                      <a:pt x="109348" y="349"/>
                      <a:pt x="107951" y="349"/>
                    </a:cubicBezTo>
                    <a:lnTo>
                      <a:pt x="99566" y="349"/>
                    </a:lnTo>
                    <a:close/>
                  </a:path>
                </a:pathLst>
              </a:custGeom>
              <a:solidFill>
                <a:srgbClr val="1D92BA"/>
              </a:solidFill>
              <a:ln w="34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17" name="Forme libre : forme 16"/>
              <p:cNvSpPr/>
              <p:nvPr/>
            </p:nvSpPr>
            <p:spPr>
              <a:xfrm>
                <a:off x="491958" y="259703"/>
                <a:ext cx="464642" cy="495436"/>
              </a:xfrm>
              <a:custGeom>
                <a:avLst/>
                <a:gdLst>
                  <a:gd name="connsiteX0" fmla="*/ 435690 w 464642"/>
                  <a:gd name="connsiteY0" fmla="*/ 242136 h 495435"/>
                  <a:gd name="connsiteX1" fmla="*/ 422415 w 464642"/>
                  <a:gd name="connsiteY1" fmla="*/ 242136 h 495435"/>
                  <a:gd name="connsiteX2" fmla="*/ 422415 w 464642"/>
                  <a:gd name="connsiteY2" fmla="*/ 242136 h 495435"/>
                  <a:gd name="connsiteX3" fmla="*/ 336823 w 464642"/>
                  <a:gd name="connsiteY3" fmla="*/ 242136 h 495435"/>
                  <a:gd name="connsiteX4" fmla="*/ 336823 w 464642"/>
                  <a:gd name="connsiteY4" fmla="*/ 325522 h 495435"/>
                  <a:gd name="connsiteX5" fmla="*/ 336823 w 464642"/>
                  <a:gd name="connsiteY5" fmla="*/ 325522 h 495435"/>
                  <a:gd name="connsiteX6" fmla="*/ 350447 w 464642"/>
                  <a:gd name="connsiteY6" fmla="*/ 381695 h 495435"/>
                  <a:gd name="connsiteX7" fmla="*/ 362326 w 464642"/>
                  <a:gd name="connsiteY7" fmla="*/ 394604 h 495435"/>
                  <a:gd name="connsiteX8" fmla="*/ 297695 w 464642"/>
                  <a:gd name="connsiteY8" fmla="*/ 394604 h 495435"/>
                  <a:gd name="connsiteX9" fmla="*/ 257868 w 464642"/>
                  <a:gd name="connsiteY9" fmla="*/ 392860 h 495435"/>
                  <a:gd name="connsiteX10" fmla="*/ 180661 w 464642"/>
                  <a:gd name="connsiteY10" fmla="*/ 364948 h 495435"/>
                  <a:gd name="connsiteX11" fmla="*/ 151664 w 464642"/>
                  <a:gd name="connsiteY11" fmla="*/ 288888 h 495435"/>
                  <a:gd name="connsiteX12" fmla="*/ 151664 w 464642"/>
                  <a:gd name="connsiteY12" fmla="*/ 247020 h 495435"/>
                  <a:gd name="connsiteX13" fmla="*/ 151664 w 464642"/>
                  <a:gd name="connsiteY13" fmla="*/ 107461 h 495435"/>
                  <a:gd name="connsiteX14" fmla="*/ 364422 w 464642"/>
                  <a:gd name="connsiteY14" fmla="*/ 107461 h 495435"/>
                  <a:gd name="connsiteX15" fmla="*/ 369313 w 464642"/>
                  <a:gd name="connsiteY15" fmla="*/ 107461 h 495435"/>
                  <a:gd name="connsiteX16" fmla="*/ 448966 w 464642"/>
                  <a:gd name="connsiteY16" fmla="*/ 107461 h 495435"/>
                  <a:gd name="connsiteX17" fmla="*/ 448966 w 464642"/>
                  <a:gd name="connsiteY17" fmla="*/ 107112 h 495435"/>
                  <a:gd name="connsiteX18" fmla="*/ 377348 w 464642"/>
                  <a:gd name="connsiteY18" fmla="*/ 29656 h 495435"/>
                  <a:gd name="connsiteX19" fmla="*/ 354989 w 464642"/>
                  <a:gd name="connsiteY19" fmla="*/ 18841 h 495435"/>
                  <a:gd name="connsiteX20" fmla="*/ 258218 w 464642"/>
                  <a:gd name="connsiteY20" fmla="*/ 0 h 495435"/>
                  <a:gd name="connsiteX21" fmla="*/ 132100 w 464642"/>
                  <a:gd name="connsiteY21" fmla="*/ 31750 h 495435"/>
                  <a:gd name="connsiteX22" fmla="*/ 75854 w 464642"/>
                  <a:gd name="connsiteY22" fmla="*/ 73269 h 495435"/>
                  <a:gd name="connsiteX23" fmla="*/ 75854 w 464642"/>
                  <a:gd name="connsiteY23" fmla="*/ 423214 h 495435"/>
                  <a:gd name="connsiteX24" fmla="*/ 255423 w 464642"/>
                  <a:gd name="connsiteY24" fmla="*/ 496482 h 495435"/>
                  <a:gd name="connsiteX25" fmla="*/ 439184 w 464642"/>
                  <a:gd name="connsiteY25" fmla="*/ 423214 h 495435"/>
                  <a:gd name="connsiteX26" fmla="*/ 455603 w 464642"/>
                  <a:gd name="connsiteY26" fmla="*/ 405769 h 495435"/>
                  <a:gd name="connsiteX27" fmla="*/ 465385 w 464642"/>
                  <a:gd name="connsiteY27" fmla="*/ 393557 h 495435"/>
                  <a:gd name="connsiteX28" fmla="*/ 465385 w 464642"/>
                  <a:gd name="connsiteY28" fmla="*/ 272839 h 495435"/>
                  <a:gd name="connsiteX29" fmla="*/ 435690 w 464642"/>
                  <a:gd name="connsiteY29" fmla="*/ 242136 h 4954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464642" h="495435">
                    <a:moveTo>
                      <a:pt x="435690" y="242136"/>
                    </a:moveTo>
                    <a:lnTo>
                      <a:pt x="422415" y="242136"/>
                    </a:lnTo>
                    <a:lnTo>
                      <a:pt x="422415" y="242136"/>
                    </a:lnTo>
                    <a:lnTo>
                      <a:pt x="336823" y="242136"/>
                    </a:lnTo>
                    <a:lnTo>
                      <a:pt x="336823" y="325522"/>
                    </a:lnTo>
                    <a:lnTo>
                      <a:pt x="336823" y="325522"/>
                    </a:lnTo>
                    <a:cubicBezTo>
                      <a:pt x="336823" y="343665"/>
                      <a:pt x="339268" y="367739"/>
                      <a:pt x="350447" y="381695"/>
                    </a:cubicBezTo>
                    <a:cubicBezTo>
                      <a:pt x="359531" y="392860"/>
                      <a:pt x="361976" y="394604"/>
                      <a:pt x="362326" y="394604"/>
                    </a:cubicBezTo>
                    <a:lnTo>
                      <a:pt x="297695" y="394604"/>
                    </a:lnTo>
                    <a:cubicBezTo>
                      <a:pt x="283022" y="394604"/>
                      <a:pt x="269746" y="393906"/>
                      <a:pt x="257868" y="392860"/>
                    </a:cubicBezTo>
                    <a:cubicBezTo>
                      <a:pt x="220837" y="389022"/>
                      <a:pt x="196382" y="379602"/>
                      <a:pt x="180661" y="364948"/>
                    </a:cubicBezTo>
                    <a:cubicBezTo>
                      <a:pt x="160748" y="346805"/>
                      <a:pt x="153760" y="321335"/>
                      <a:pt x="151664" y="288888"/>
                    </a:cubicBezTo>
                    <a:lnTo>
                      <a:pt x="151664" y="247020"/>
                    </a:lnTo>
                    <a:lnTo>
                      <a:pt x="151664" y="107461"/>
                    </a:lnTo>
                    <a:lnTo>
                      <a:pt x="364422" y="107461"/>
                    </a:lnTo>
                    <a:lnTo>
                      <a:pt x="369313" y="107461"/>
                    </a:lnTo>
                    <a:lnTo>
                      <a:pt x="448966" y="107461"/>
                    </a:lnTo>
                    <a:lnTo>
                      <a:pt x="448966" y="107112"/>
                    </a:lnTo>
                    <a:cubicBezTo>
                      <a:pt x="433245" y="68384"/>
                      <a:pt x="401453" y="43612"/>
                      <a:pt x="377348" y="29656"/>
                    </a:cubicBezTo>
                    <a:cubicBezTo>
                      <a:pt x="368265" y="24423"/>
                      <a:pt x="361277" y="21283"/>
                      <a:pt x="354989" y="18841"/>
                    </a:cubicBezTo>
                    <a:cubicBezTo>
                      <a:pt x="327739" y="7327"/>
                      <a:pt x="291406" y="0"/>
                      <a:pt x="258218" y="0"/>
                    </a:cubicBezTo>
                    <a:cubicBezTo>
                      <a:pt x="220487" y="0"/>
                      <a:pt x="173324" y="8374"/>
                      <a:pt x="132100" y="31750"/>
                    </a:cubicBezTo>
                    <a:cubicBezTo>
                      <a:pt x="102056" y="48846"/>
                      <a:pt x="94719" y="55475"/>
                      <a:pt x="75854" y="73269"/>
                    </a:cubicBezTo>
                    <a:cubicBezTo>
                      <a:pt x="-25808" y="169565"/>
                      <a:pt x="-24760" y="325522"/>
                      <a:pt x="75854" y="423214"/>
                    </a:cubicBezTo>
                    <a:cubicBezTo>
                      <a:pt x="135245" y="480433"/>
                      <a:pt x="204766" y="496482"/>
                      <a:pt x="255423" y="496482"/>
                    </a:cubicBezTo>
                    <a:cubicBezTo>
                      <a:pt x="316909" y="496482"/>
                      <a:pt x="382937" y="476944"/>
                      <a:pt x="439184" y="423214"/>
                    </a:cubicBezTo>
                    <a:cubicBezTo>
                      <a:pt x="442328" y="420423"/>
                      <a:pt x="450363" y="411700"/>
                      <a:pt x="455603" y="405769"/>
                    </a:cubicBezTo>
                    <a:cubicBezTo>
                      <a:pt x="459097" y="401931"/>
                      <a:pt x="462241" y="397395"/>
                      <a:pt x="465385" y="393557"/>
                    </a:cubicBezTo>
                    <a:lnTo>
                      <a:pt x="465385" y="272839"/>
                    </a:lnTo>
                    <a:cubicBezTo>
                      <a:pt x="465385" y="266558"/>
                      <a:pt x="461892" y="243182"/>
                      <a:pt x="435690" y="242136"/>
                    </a:cubicBezTo>
                  </a:path>
                </a:pathLst>
              </a:custGeom>
              <a:solidFill>
                <a:srgbClr val="0038A1"/>
              </a:solidFill>
              <a:ln w="348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1201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AntagometricaBTW01-Bold" panose="020B0806020202040206" pitchFamily="34" charset="0"/>
          <a:ea typeface="+mj-ea"/>
          <a:cs typeface="+mj-cs"/>
        </a:defRPr>
      </a:lvl1pPr>
    </p:titleStyle>
    <p:bodyStyle>
      <a:lvl1pPr marL="228600" indent="-228600" algn="just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venir LT Std 55 Roman" panose="020B0503020203020204" pitchFamily="34" charset="0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venir Book" panose="02000503020000020003" pitchFamily="2" charset="0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venir Book" panose="02000503020000020003" pitchFamily="2" charset="0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venir Book" panose="02000503020000020003" pitchFamily="2" charset="0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Avenir Book" panose="02000503020000020003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2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1.pn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negawatt.org/IMG/pdf/2019_unw_atelier_bioenergies_c.couturier.pdf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3.xml"/><Relationship Id="rId4" Type="http://schemas.openxmlformats.org/officeDocument/2006/relationships/hyperlink" Target="https://solagro.org/images/imagesCK/files/publications/f35_qualiteagrodigestatssolagro2004.pdf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Espace réservé pour une image  5">
            <a:extLst>
              <a:ext uri="{FF2B5EF4-FFF2-40B4-BE49-F238E27FC236}">
                <a16:creationId xmlns:a16="http://schemas.microsoft.com/office/drawing/2014/main" id="{5685750D-2EDF-C26F-7B96-9A842F46A69A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79" r="15079"/>
          <a:stretch/>
        </p:blipFill>
        <p:spPr>
          <a:xfrm>
            <a:off x="447" y="-31227"/>
            <a:ext cx="12221023" cy="6874325"/>
          </a:xfrm>
          <a:prstGeom prst="rect">
            <a:avLst/>
          </a:prstGeom>
        </p:spPr>
      </p:pic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91892602-80E9-E7B9-EA3F-436C117EE6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1</a:t>
            </a:fld>
            <a:endParaRPr lang="fr-FR"/>
          </a:p>
        </p:txBody>
      </p:sp>
      <p:sp>
        <p:nvSpPr>
          <p:cNvPr id="7" name="Forme libre : forme 6">
            <a:extLst>
              <a:ext uri="{FF2B5EF4-FFF2-40B4-BE49-F238E27FC236}">
                <a16:creationId xmlns:a16="http://schemas.microsoft.com/office/drawing/2014/main" id="{390B9F6E-231B-1C6F-C424-DAD7E0DFDA52}"/>
              </a:ext>
            </a:extLst>
          </p:cNvPr>
          <p:cNvSpPr/>
          <p:nvPr/>
        </p:nvSpPr>
        <p:spPr>
          <a:xfrm>
            <a:off x="-7032" y="-31227"/>
            <a:ext cx="12221023" cy="7656839"/>
          </a:xfrm>
          <a:custGeom>
            <a:avLst/>
            <a:gdLst>
              <a:gd name="connsiteX0" fmla="*/ 4240188 w 12192003"/>
              <a:gd name="connsiteY0" fmla="*/ 0 h 6872038"/>
              <a:gd name="connsiteX1" fmla="*/ 12192003 w 12192003"/>
              <a:gd name="connsiteY1" fmla="*/ 0 h 6872038"/>
              <a:gd name="connsiteX2" fmla="*/ 12192003 w 12192003"/>
              <a:gd name="connsiteY2" fmla="*/ 6128593 h 6872038"/>
              <a:gd name="connsiteX3" fmla="*/ 12131186 w 12192003"/>
              <a:gd name="connsiteY3" fmla="*/ 6101377 h 6872038"/>
              <a:gd name="connsiteX4" fmla="*/ 11904815 w 12192003"/>
              <a:gd name="connsiteY4" fmla="*/ 6104505 h 6872038"/>
              <a:gd name="connsiteX5" fmla="*/ 5454902 w 12192003"/>
              <a:gd name="connsiteY5" fmla="*/ 3325163 h 6872038"/>
              <a:gd name="connsiteX6" fmla="*/ 4211729 w 12192003"/>
              <a:gd name="connsiteY6" fmla="*/ 3297 h 6872038"/>
              <a:gd name="connsiteX7" fmla="*/ 4242050 w 12192003"/>
              <a:gd name="connsiteY7" fmla="*/ 3297 h 6872038"/>
              <a:gd name="connsiteX8" fmla="*/ 0 w 12192003"/>
              <a:gd name="connsiteY8" fmla="*/ 0 h 6872038"/>
              <a:gd name="connsiteX9" fmla="*/ 5 w 12192003"/>
              <a:gd name="connsiteY9" fmla="*/ 0 h 6872038"/>
              <a:gd name="connsiteX10" fmla="*/ 5 w 12192003"/>
              <a:gd name="connsiteY10" fmla="*/ 6872037 h 6872038"/>
              <a:gd name="connsiteX11" fmla="*/ 12192003 w 12192003"/>
              <a:gd name="connsiteY11" fmla="*/ 6872037 h 6872038"/>
              <a:gd name="connsiteX12" fmla="*/ 12192003 w 12192003"/>
              <a:gd name="connsiteY12" fmla="*/ 6872038 h 6872038"/>
              <a:gd name="connsiteX13" fmla="*/ 0 w 12192003"/>
              <a:gd name="connsiteY13" fmla="*/ 6872038 h 6872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2003" h="6872038">
                <a:moveTo>
                  <a:pt x="4240188" y="0"/>
                </a:moveTo>
                <a:lnTo>
                  <a:pt x="12192003" y="0"/>
                </a:lnTo>
                <a:lnTo>
                  <a:pt x="12192003" y="6128593"/>
                </a:lnTo>
                <a:lnTo>
                  <a:pt x="12131186" y="6101377"/>
                </a:lnTo>
                <a:lnTo>
                  <a:pt x="11904815" y="6104505"/>
                </a:lnTo>
                <a:cubicBezTo>
                  <a:pt x="6005779" y="6152585"/>
                  <a:pt x="8347544" y="3998161"/>
                  <a:pt x="5454902" y="3325163"/>
                </a:cubicBezTo>
                <a:cubicBezTo>
                  <a:pt x="2516345" y="2641482"/>
                  <a:pt x="4211729" y="3297"/>
                  <a:pt x="4211729" y="3297"/>
                </a:cubicBezTo>
                <a:lnTo>
                  <a:pt x="4242050" y="3297"/>
                </a:lnTo>
                <a:close/>
                <a:moveTo>
                  <a:pt x="0" y="0"/>
                </a:moveTo>
                <a:lnTo>
                  <a:pt x="5" y="0"/>
                </a:lnTo>
                <a:lnTo>
                  <a:pt x="5" y="6872037"/>
                </a:lnTo>
                <a:lnTo>
                  <a:pt x="12192003" y="6872037"/>
                </a:lnTo>
                <a:lnTo>
                  <a:pt x="12192003" y="6872038"/>
                </a:lnTo>
                <a:lnTo>
                  <a:pt x="0" y="6872038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E8CA97D-CB23-E996-F5F4-5B5DAD092399}"/>
              </a:ext>
            </a:extLst>
          </p:cNvPr>
          <p:cNvSpPr txBox="1"/>
          <p:nvPr/>
        </p:nvSpPr>
        <p:spPr>
          <a:xfrm>
            <a:off x="2589293" y="1755566"/>
            <a:ext cx="10637820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32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éthaniser les biodéchets : </a:t>
            </a:r>
          </a:p>
          <a:p>
            <a:pPr algn="ctr"/>
            <a:r>
              <a:rPr lang="fr-FR" sz="32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e solution pour </a:t>
            </a:r>
          </a:p>
          <a:p>
            <a:pPr algn="ctr"/>
            <a:r>
              <a:rPr lang="fr-FR" sz="32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ire de l’énergie renouvelable et </a:t>
            </a:r>
          </a:p>
          <a:p>
            <a:pPr algn="ctr"/>
            <a:r>
              <a:rPr lang="fr-FR" sz="32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richir nos sols </a:t>
            </a:r>
          </a:p>
          <a:p>
            <a:pPr algn="ctr"/>
            <a:endParaRPr lang="fr-FR" sz="3200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C36D5C83-38F5-388E-3D45-75C40A6FD4E7}"/>
              </a:ext>
            </a:extLst>
          </p:cNvPr>
          <p:cNvPicPr>
            <a:picLocks noChangeAspect="1"/>
          </p:cNvPicPr>
          <p:nvPr/>
        </p:nvPicPr>
        <p:blipFill>
          <a:blip r:embed="rId3" cstate="email"/>
          <a:stretch>
            <a:fillRect/>
          </a:stretch>
        </p:blipFill>
        <p:spPr>
          <a:xfrm>
            <a:off x="10165180" y="5320145"/>
            <a:ext cx="1407983" cy="791990"/>
          </a:xfrm>
          <a:prstGeom prst="rect">
            <a:avLst/>
          </a:prstGeom>
        </p:spPr>
      </p:pic>
      <p:sp>
        <p:nvSpPr>
          <p:cNvPr id="16" name="ZoneTexte 15">
            <a:extLst>
              <a:ext uri="{FF2B5EF4-FFF2-40B4-BE49-F238E27FC236}">
                <a16:creationId xmlns:a16="http://schemas.microsoft.com/office/drawing/2014/main" id="{D2CFFEF3-EB3E-EE97-C0EE-F4D5F52ADBEF}"/>
              </a:ext>
            </a:extLst>
          </p:cNvPr>
          <p:cNvSpPr txBox="1"/>
          <p:nvPr/>
        </p:nvSpPr>
        <p:spPr>
          <a:xfrm>
            <a:off x="-14511" y="5874603"/>
            <a:ext cx="1390124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fr-FR" sz="1200">
                <a:solidFill>
                  <a:srgbClr val="009BC4"/>
                </a:solidFill>
              </a:rPr>
              <a:t>Paris, le 16/06/23</a:t>
            </a:r>
          </a:p>
        </p:txBody>
      </p:sp>
    </p:spTree>
    <p:extLst>
      <p:ext uri="{BB962C8B-B14F-4D97-AF65-F5344CB8AC3E}">
        <p14:creationId xmlns:p14="http://schemas.microsoft.com/office/powerpoint/2010/main" val="30600066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F41C5315-EA90-BE18-F9A8-F38E94FEA2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722273" y="6267450"/>
            <a:ext cx="553000" cy="365125"/>
          </a:xfrm>
        </p:spPr>
        <p:txBody>
          <a:bodyPr/>
          <a:lstStyle/>
          <a:p>
            <a:fld id="{82DB2F9C-E71B-B545-B257-E1C65CA446D5}" type="slidenum">
              <a:rPr lang="fr-FR" smtClean="0"/>
              <a:t>2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7D1AB3F6-3A67-8542-775A-4048D30D4C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3 types de méthanisation pour des rôles de la collectivité très différent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134B1E26-241A-77B7-F989-31A486FC297D}"/>
              </a:ext>
            </a:extLst>
          </p:cNvPr>
          <p:cNvSpPr txBox="1"/>
          <p:nvPr/>
        </p:nvSpPr>
        <p:spPr>
          <a:xfrm>
            <a:off x="5737499" y="3027829"/>
            <a:ext cx="37002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8EBE56"/>
                </a:solidFill>
                <a:latin typeface="FlamaLight" pitchFamily="50" charset="0"/>
              </a:rPr>
              <a:t>Méthanisation Mixte Agricole et Biodéchets</a:t>
            </a:r>
          </a:p>
          <a:p>
            <a:r>
              <a:rPr lang="fr-FR" sz="1400" dirty="0">
                <a:latin typeface="FlamaLight" pitchFamily="50" charset="0"/>
              </a:rPr>
              <a:t>Fumiers, lisiers, résidus de culture, CIVE (cultures intermédiaires à valorisation énergétique)…</a:t>
            </a:r>
          </a:p>
          <a:p>
            <a:r>
              <a:rPr lang="fr-FR" sz="1400" b="1" i="1" dirty="0">
                <a:solidFill>
                  <a:schemeClr val="accent3"/>
                </a:solidFill>
                <a:latin typeface="FlamaLight" pitchFamily="50" charset="0"/>
              </a:rPr>
              <a:t>Exemple : </a:t>
            </a:r>
            <a:r>
              <a:rPr lang="fr-FR" sz="1400" b="1" i="1" dirty="0" err="1">
                <a:solidFill>
                  <a:schemeClr val="accent3"/>
                </a:solidFill>
                <a:latin typeface="FlamaLight" pitchFamily="50" charset="0"/>
              </a:rPr>
              <a:t>Méthamoly</a:t>
            </a:r>
            <a:r>
              <a:rPr lang="fr-FR" sz="1400" b="1" i="1" dirty="0">
                <a:solidFill>
                  <a:schemeClr val="accent3"/>
                </a:solidFill>
                <a:latin typeface="FlamaLight" pitchFamily="50" charset="0"/>
              </a:rPr>
              <a:t> (42), </a:t>
            </a:r>
            <a:r>
              <a:rPr lang="fr-FR" sz="1400" b="1" i="1" dirty="0" err="1">
                <a:solidFill>
                  <a:schemeClr val="accent3"/>
                </a:solidFill>
                <a:latin typeface="FlamaLight" pitchFamily="50" charset="0"/>
              </a:rPr>
              <a:t>Meuhvelec</a:t>
            </a:r>
            <a:r>
              <a:rPr lang="fr-FR" sz="1400" b="1" i="1" dirty="0">
                <a:solidFill>
                  <a:schemeClr val="accent3"/>
                </a:solidFill>
                <a:latin typeface="FlamaLight" pitchFamily="50" charset="0"/>
              </a:rPr>
              <a:t> (74), </a:t>
            </a:r>
            <a:r>
              <a:rPr lang="fr-FR" sz="1400" b="1" i="1" dirty="0" err="1">
                <a:solidFill>
                  <a:schemeClr val="accent3"/>
                </a:solidFill>
                <a:latin typeface="FlamaLight" pitchFamily="50" charset="0"/>
              </a:rPr>
              <a:t>Méthavéore</a:t>
            </a:r>
            <a:r>
              <a:rPr lang="fr-FR" sz="1400" b="1" i="1" dirty="0">
                <a:solidFill>
                  <a:schemeClr val="accent3"/>
                </a:solidFill>
                <a:latin typeface="FlamaLight" pitchFamily="50" charset="0"/>
              </a:rPr>
              <a:t> (26)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15593957-41E9-A7C1-1150-8363DF891D28}"/>
              </a:ext>
            </a:extLst>
          </p:cNvPr>
          <p:cNvSpPr txBox="1"/>
          <p:nvPr/>
        </p:nvSpPr>
        <p:spPr>
          <a:xfrm>
            <a:off x="5741818" y="1056299"/>
            <a:ext cx="398184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1F69A6"/>
                </a:solidFill>
                <a:latin typeface="FlamaLight" pitchFamily="50" charset="0"/>
              </a:rPr>
              <a:t>Méthanisation 100% biodéchets du Territoire </a:t>
            </a:r>
          </a:p>
          <a:p>
            <a:r>
              <a:rPr lang="fr-FR" sz="1400" dirty="0">
                <a:latin typeface="FlamaLight" pitchFamily="50" charset="0"/>
              </a:rPr>
              <a:t>Traitement des biodéchets des collectivités locales, des IAA, de la restauration collective, de la distribution…</a:t>
            </a:r>
          </a:p>
          <a:p>
            <a:r>
              <a:rPr lang="fr-FR" sz="1400" b="1" i="1" dirty="0">
                <a:solidFill>
                  <a:schemeClr val="accent3"/>
                </a:solidFill>
                <a:latin typeface="FlamaLight" pitchFamily="50" charset="0"/>
              </a:rPr>
              <a:t>Exemple : Projet de Grenoble-Alpes-Métropole, </a:t>
            </a:r>
            <a:r>
              <a:rPr lang="fr-FR" sz="1400" b="1" i="1" dirty="0" err="1">
                <a:solidFill>
                  <a:schemeClr val="accent3"/>
                </a:solidFill>
                <a:latin typeface="FlamaLight" pitchFamily="50" charset="0"/>
              </a:rPr>
              <a:t>Méthavalor</a:t>
            </a:r>
            <a:r>
              <a:rPr lang="fr-FR" sz="1400" b="1" i="1" dirty="0">
                <a:solidFill>
                  <a:schemeClr val="accent3"/>
                </a:solidFill>
                <a:latin typeface="FlamaLight" pitchFamily="50" charset="0"/>
              </a:rPr>
              <a:t> (57), CVO Lille (59)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E653900A-0B2B-0F37-906C-FDDD050D4C2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9243" y="945030"/>
            <a:ext cx="2923372" cy="1865589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:a16="http://schemas.microsoft.com/office/drawing/2014/main" id="{902C13A3-EB16-5005-9B9F-FD7EAF92C4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31"/>
          <a:stretch/>
        </p:blipFill>
        <p:spPr>
          <a:xfrm>
            <a:off x="2649243" y="2850643"/>
            <a:ext cx="2930578" cy="1853279"/>
          </a:xfrm>
          <a:prstGeom prst="rect">
            <a:avLst/>
          </a:prstGeom>
        </p:spPr>
      </p:pic>
      <p:sp>
        <p:nvSpPr>
          <p:cNvPr id="22" name="ZoneTexte 21">
            <a:extLst>
              <a:ext uri="{FF2B5EF4-FFF2-40B4-BE49-F238E27FC236}">
                <a16:creationId xmlns:a16="http://schemas.microsoft.com/office/drawing/2014/main" id="{6721F7A3-1F6D-7118-0570-25DC54A10898}"/>
              </a:ext>
            </a:extLst>
          </p:cNvPr>
          <p:cNvSpPr txBox="1"/>
          <p:nvPr/>
        </p:nvSpPr>
        <p:spPr>
          <a:xfrm>
            <a:off x="5737499" y="4984831"/>
            <a:ext cx="370020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rgbClr val="8EBE56"/>
                </a:solidFill>
                <a:latin typeface="FlamaLight" pitchFamily="50" charset="0"/>
              </a:rPr>
              <a:t>Petite unité de méthanisation 100% biodéchets </a:t>
            </a:r>
          </a:p>
          <a:p>
            <a:r>
              <a:rPr lang="fr-FR" sz="1400" dirty="0">
                <a:latin typeface="FlamaLight" pitchFamily="50" charset="0"/>
              </a:rPr>
              <a:t>Traitement exclusivement des biodéchets du territoire.</a:t>
            </a:r>
          </a:p>
          <a:p>
            <a:r>
              <a:rPr lang="fr-FR" sz="1400" b="1" i="1" dirty="0">
                <a:solidFill>
                  <a:schemeClr val="accent3"/>
                </a:solidFill>
                <a:latin typeface="FlamaLight" pitchFamily="50" charset="0"/>
              </a:rPr>
              <a:t>Exemple : Modulo Yveline (78)</a:t>
            </a:r>
          </a:p>
          <a:p>
            <a:endParaRPr lang="fr-FR" sz="1000" dirty="0">
              <a:latin typeface="FlamaLight" pitchFamily="50" charset="0"/>
            </a:endParaRPr>
          </a:p>
        </p:txBody>
      </p:sp>
      <p:pic>
        <p:nvPicPr>
          <p:cNvPr id="24" name="Image 23">
            <a:extLst>
              <a:ext uri="{FF2B5EF4-FFF2-40B4-BE49-F238E27FC236}">
                <a16:creationId xmlns:a16="http://schemas.microsoft.com/office/drawing/2014/main" id="{F2D50B28-257E-6B7C-4A71-BE74BFCD9BE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092" t="11447" r="10588" b="53923"/>
          <a:stretch/>
        </p:blipFill>
        <p:spPr>
          <a:xfrm>
            <a:off x="2649243" y="4772511"/>
            <a:ext cx="2930579" cy="1778933"/>
          </a:xfrm>
          <a:prstGeom prst="rect">
            <a:avLst/>
          </a:prstGeom>
        </p:spPr>
      </p:pic>
      <p:sp>
        <p:nvSpPr>
          <p:cNvPr id="25" name="ZoneTexte 24">
            <a:extLst>
              <a:ext uri="{FF2B5EF4-FFF2-40B4-BE49-F238E27FC236}">
                <a16:creationId xmlns:a16="http://schemas.microsoft.com/office/drawing/2014/main" id="{1C730291-2934-C790-E4E2-233B7AC0D2A4}"/>
              </a:ext>
            </a:extLst>
          </p:cNvPr>
          <p:cNvSpPr txBox="1"/>
          <p:nvPr/>
        </p:nvSpPr>
        <p:spPr>
          <a:xfrm>
            <a:off x="141687" y="1348981"/>
            <a:ext cx="2406646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Si gisement déchets &gt; 15 000 t/an</a:t>
            </a:r>
          </a:p>
        </p:txBody>
      </p:sp>
      <p:sp>
        <p:nvSpPr>
          <p:cNvPr id="26" name="ZoneTexte 25">
            <a:extLst>
              <a:ext uri="{FF2B5EF4-FFF2-40B4-BE49-F238E27FC236}">
                <a16:creationId xmlns:a16="http://schemas.microsoft.com/office/drawing/2014/main" id="{F4ED8C0E-2CC3-64D9-A404-7A1B5E375E0D}"/>
              </a:ext>
            </a:extLst>
          </p:cNvPr>
          <p:cNvSpPr txBox="1"/>
          <p:nvPr/>
        </p:nvSpPr>
        <p:spPr>
          <a:xfrm>
            <a:off x="141687" y="4892498"/>
            <a:ext cx="2406646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fr-FR" dirty="0"/>
              <a:t>Gisement déchets entre 4 et 10 000 t/an</a:t>
            </a:r>
          </a:p>
        </p:txBody>
      </p:sp>
    </p:spTree>
    <p:extLst>
      <p:ext uri="{BB962C8B-B14F-4D97-AF65-F5344CB8AC3E}">
        <p14:creationId xmlns:p14="http://schemas.microsoft.com/office/powerpoint/2010/main" val="19012935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390E0A6-A396-4777-AD19-03A5E688F5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rgbClr val="00B1AF"/>
                </a:solidFill>
              </a:rPr>
              <a:t>Quelle valorisation pour nos biodéchets ?</a:t>
            </a:r>
          </a:p>
        </p:txBody>
      </p:sp>
      <p:sp>
        <p:nvSpPr>
          <p:cNvPr id="38" name="Espace réservé du numéro de diapositive 37">
            <a:extLst>
              <a:ext uri="{FF2B5EF4-FFF2-40B4-BE49-F238E27FC236}">
                <a16:creationId xmlns:a16="http://schemas.microsoft.com/office/drawing/2014/main" id="{3AAEE471-402E-43E1-ABB2-365D68F256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561356" y="6402237"/>
            <a:ext cx="448916" cy="230337"/>
          </a:xfrm>
        </p:spPr>
        <p:txBody>
          <a:bodyPr/>
          <a:lstStyle/>
          <a:p>
            <a:fld id="{82DB2F9C-E71B-B545-B257-E1C65CA446D5}" type="slidenum">
              <a:rPr lang="fr-FR" smtClean="0"/>
              <a:t>3</a:t>
            </a:fld>
            <a:endParaRPr lang="fr-FR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1D53BA-D117-435F-9F12-9F75A71DAA80}"/>
              </a:ext>
            </a:extLst>
          </p:cNvPr>
          <p:cNvSpPr/>
          <p:nvPr/>
        </p:nvSpPr>
        <p:spPr>
          <a:xfrm>
            <a:off x="4831572" y="2015464"/>
            <a:ext cx="2104798" cy="422625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Avenir LT Std 55 Roman" panose="020B0503020203020204" pitchFamily="34" charset="0"/>
              </a:rPr>
              <a:t>Déconditionnement</a:t>
            </a:r>
          </a:p>
        </p:txBody>
      </p:sp>
      <p:cxnSp>
        <p:nvCxnSpPr>
          <p:cNvPr id="9" name="Connecteur droit avec flèche 8">
            <a:extLst>
              <a:ext uri="{FF2B5EF4-FFF2-40B4-BE49-F238E27FC236}">
                <a16:creationId xmlns:a16="http://schemas.microsoft.com/office/drawing/2014/main" id="{E5A9EF6E-F8BC-4221-BCA2-B4DCF5E50D6C}"/>
              </a:ext>
            </a:extLst>
          </p:cNvPr>
          <p:cNvCxnSpPr>
            <a:cxnSpLocks/>
            <a:endCxn id="4" idx="0"/>
          </p:cNvCxnSpPr>
          <p:nvPr/>
        </p:nvCxnSpPr>
        <p:spPr>
          <a:xfrm>
            <a:off x="5883971" y="1805668"/>
            <a:ext cx="0" cy="20979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3DB0FDD3-7329-4466-A0E3-AA8869B87735}"/>
              </a:ext>
            </a:extLst>
          </p:cNvPr>
          <p:cNvSpPr/>
          <p:nvPr/>
        </p:nvSpPr>
        <p:spPr>
          <a:xfrm>
            <a:off x="1907397" y="2015464"/>
            <a:ext cx="2104798" cy="422625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Avenir LT Std 55 Roman" panose="020B0503020203020204" pitchFamily="34" charset="0"/>
              </a:rPr>
              <a:t>Hygiénisation</a:t>
            </a:r>
          </a:p>
        </p:txBody>
      </p:sp>
      <p:cxnSp>
        <p:nvCxnSpPr>
          <p:cNvPr id="16" name="Connecteur droit avec flèche 15">
            <a:extLst>
              <a:ext uri="{FF2B5EF4-FFF2-40B4-BE49-F238E27FC236}">
                <a16:creationId xmlns:a16="http://schemas.microsoft.com/office/drawing/2014/main" id="{1731E708-D272-401B-B6E6-0E3ED8521FCC}"/>
              </a:ext>
            </a:extLst>
          </p:cNvPr>
          <p:cNvCxnSpPr>
            <a:stCxn id="4" idx="1"/>
            <a:endCxn id="50" idx="3"/>
          </p:cNvCxnSpPr>
          <p:nvPr/>
        </p:nvCxnSpPr>
        <p:spPr>
          <a:xfrm flipH="1">
            <a:off x="4012195" y="2226777"/>
            <a:ext cx="819377" cy="0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pic>
        <p:nvPicPr>
          <p:cNvPr id="54" name="Image 53" descr="Une image contenant ciel, bâtiment, extérieur, dôme&#10;&#10;Description générée automatiquement">
            <a:extLst>
              <a:ext uri="{FF2B5EF4-FFF2-40B4-BE49-F238E27FC236}">
                <a16:creationId xmlns:a16="http://schemas.microsoft.com/office/drawing/2014/main" id="{463377F4-53EE-40E7-BDB0-9C725657C53D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64" r="3726" b="11210"/>
          <a:stretch/>
        </p:blipFill>
        <p:spPr>
          <a:xfrm>
            <a:off x="1575844" y="3001834"/>
            <a:ext cx="2750941" cy="1343608"/>
          </a:xfrm>
          <a:prstGeom prst="rect">
            <a:avLst/>
          </a:prstGeom>
        </p:spPr>
      </p:pic>
      <p:sp>
        <p:nvSpPr>
          <p:cNvPr id="55" name="Forme libre 15">
            <a:extLst>
              <a:ext uri="{FF2B5EF4-FFF2-40B4-BE49-F238E27FC236}">
                <a16:creationId xmlns:a16="http://schemas.microsoft.com/office/drawing/2014/main" id="{9CCC24F9-202D-4C9A-880C-4F9788C666A0}"/>
              </a:ext>
            </a:extLst>
          </p:cNvPr>
          <p:cNvSpPr/>
          <p:nvPr/>
        </p:nvSpPr>
        <p:spPr>
          <a:xfrm>
            <a:off x="1577045" y="2739686"/>
            <a:ext cx="2758401" cy="396824"/>
          </a:xfrm>
          <a:custGeom>
            <a:avLst/>
            <a:gdLst>
              <a:gd name="connsiteX0" fmla="*/ 334244 w 3517986"/>
              <a:gd name="connsiteY0" fmla="*/ 0 h 828674"/>
              <a:gd name="connsiteX1" fmla="*/ 3183742 w 3517986"/>
              <a:gd name="connsiteY1" fmla="*/ 0 h 828674"/>
              <a:gd name="connsiteX2" fmla="*/ 3517986 w 3517986"/>
              <a:gd name="connsiteY2" fmla="*/ 334244 h 828674"/>
              <a:gd name="connsiteX3" fmla="*/ 3517986 w 3517986"/>
              <a:gd name="connsiteY3" fmla="*/ 828674 h 828674"/>
              <a:gd name="connsiteX4" fmla="*/ 0 w 3517986"/>
              <a:gd name="connsiteY4" fmla="*/ 828674 h 828674"/>
              <a:gd name="connsiteX5" fmla="*/ 0 w 3517986"/>
              <a:gd name="connsiteY5" fmla="*/ 334244 h 828674"/>
              <a:gd name="connsiteX6" fmla="*/ 334244 w 3517986"/>
              <a:gd name="connsiteY6" fmla="*/ 0 h 82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7986" h="828674">
                <a:moveTo>
                  <a:pt x="334244" y="0"/>
                </a:moveTo>
                <a:lnTo>
                  <a:pt x="3183742" y="0"/>
                </a:lnTo>
                <a:cubicBezTo>
                  <a:pt x="3368340" y="0"/>
                  <a:pt x="3517986" y="149646"/>
                  <a:pt x="3517986" y="334244"/>
                </a:cubicBezTo>
                <a:lnTo>
                  <a:pt x="3517986" y="828674"/>
                </a:lnTo>
                <a:lnTo>
                  <a:pt x="0" y="828674"/>
                </a:lnTo>
                <a:lnTo>
                  <a:pt x="0" y="334244"/>
                </a:lnTo>
                <a:cubicBezTo>
                  <a:pt x="0" y="149646"/>
                  <a:pt x="149646" y="0"/>
                  <a:pt x="33424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latin typeface="Avenir Book" panose="02000503020000020003" pitchFamily="2" charset="0"/>
            </a:endParaRPr>
          </a:p>
        </p:txBody>
      </p:sp>
      <p:sp>
        <p:nvSpPr>
          <p:cNvPr id="59" name="ZoneTexte 58">
            <a:extLst>
              <a:ext uri="{FF2B5EF4-FFF2-40B4-BE49-F238E27FC236}">
                <a16:creationId xmlns:a16="http://schemas.microsoft.com/office/drawing/2014/main" id="{C76BD295-5313-421B-8A6F-9B05CC714398}"/>
              </a:ext>
            </a:extLst>
          </p:cNvPr>
          <p:cNvSpPr txBox="1"/>
          <p:nvPr/>
        </p:nvSpPr>
        <p:spPr>
          <a:xfrm>
            <a:off x="1586730" y="2772461"/>
            <a:ext cx="2750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/>
                </a:solidFill>
                <a:latin typeface="Avenir LT Std 55 Roman" panose="020B0503020203020204" pitchFamily="34" charset="0"/>
              </a:rPr>
              <a:t>Méthanisation</a:t>
            </a:r>
          </a:p>
        </p:txBody>
      </p:sp>
      <p:sp>
        <p:nvSpPr>
          <p:cNvPr id="60" name="Rectangle : coins arrondis 59">
            <a:extLst>
              <a:ext uri="{FF2B5EF4-FFF2-40B4-BE49-F238E27FC236}">
                <a16:creationId xmlns:a16="http://schemas.microsoft.com/office/drawing/2014/main" id="{4CCAFFDF-704C-4EEB-ADB1-54F720BF46CB}"/>
              </a:ext>
            </a:extLst>
          </p:cNvPr>
          <p:cNvSpPr/>
          <p:nvPr/>
        </p:nvSpPr>
        <p:spPr>
          <a:xfrm>
            <a:off x="1568336" y="4102847"/>
            <a:ext cx="2758401" cy="257353"/>
          </a:xfrm>
          <a:prstGeom prst="roundRect">
            <a:avLst>
              <a:gd name="adj" fmla="val 9501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venir Book" panose="02000503020000020003" pitchFamily="2" charset="0"/>
            </a:endParaRPr>
          </a:p>
        </p:txBody>
      </p:sp>
      <p:grpSp>
        <p:nvGrpSpPr>
          <p:cNvPr id="61" name="Groupe 60">
            <a:extLst>
              <a:ext uri="{FF2B5EF4-FFF2-40B4-BE49-F238E27FC236}">
                <a16:creationId xmlns:a16="http://schemas.microsoft.com/office/drawing/2014/main" id="{B3089EF1-7339-419C-950D-C9C1F3A9A757}"/>
              </a:ext>
            </a:extLst>
          </p:cNvPr>
          <p:cNvGrpSpPr/>
          <p:nvPr/>
        </p:nvGrpSpPr>
        <p:grpSpPr>
          <a:xfrm>
            <a:off x="2818289" y="4264143"/>
            <a:ext cx="245074" cy="209333"/>
            <a:chOff x="5695867" y="1032391"/>
            <a:chExt cx="544596" cy="544596"/>
          </a:xfrm>
        </p:grpSpPr>
        <p:sp>
          <p:nvSpPr>
            <p:cNvPr id="63" name="Ellipse 62">
              <a:extLst>
                <a:ext uri="{FF2B5EF4-FFF2-40B4-BE49-F238E27FC236}">
                  <a16:creationId xmlns:a16="http://schemas.microsoft.com/office/drawing/2014/main" id="{FCF4ABF0-5BA4-4512-A780-346BE2194744}"/>
                </a:ext>
              </a:extLst>
            </p:cNvPr>
            <p:cNvSpPr/>
            <p:nvPr/>
          </p:nvSpPr>
          <p:spPr>
            <a:xfrm rot="16200000" flipH="1">
              <a:off x="5695867" y="1032391"/>
              <a:ext cx="544596" cy="544596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endParaRPr>
            </a:p>
          </p:txBody>
        </p:sp>
        <p:grpSp>
          <p:nvGrpSpPr>
            <p:cNvPr id="64" name="Graphique 8">
              <a:extLst>
                <a:ext uri="{FF2B5EF4-FFF2-40B4-BE49-F238E27FC236}">
                  <a16:creationId xmlns:a16="http://schemas.microsoft.com/office/drawing/2014/main" id="{C671A43F-96A3-4D5D-B69E-400D5D9A00E3}"/>
                </a:ext>
              </a:extLst>
            </p:cNvPr>
            <p:cNvGrpSpPr/>
            <p:nvPr/>
          </p:nvGrpSpPr>
          <p:grpSpPr>
            <a:xfrm rot="16200000" flipH="1">
              <a:off x="5941041" y="1263566"/>
              <a:ext cx="59977" cy="124133"/>
              <a:chOff x="6082178" y="3137001"/>
              <a:chExt cx="189604" cy="367588"/>
            </a:xfrm>
            <a:solidFill>
              <a:schemeClr val="tx2"/>
            </a:solidFill>
          </p:grpSpPr>
          <p:sp>
            <p:nvSpPr>
              <p:cNvPr id="65" name="Forme libre 47">
                <a:extLst>
                  <a:ext uri="{FF2B5EF4-FFF2-40B4-BE49-F238E27FC236}">
                    <a16:creationId xmlns:a16="http://schemas.microsoft.com/office/drawing/2014/main" id="{CE915CEE-F7A4-451C-BEDC-224246E1BC4A}"/>
                  </a:ext>
                </a:extLst>
              </p:cNvPr>
              <p:cNvSpPr/>
              <p:nvPr/>
            </p:nvSpPr>
            <p:spPr>
              <a:xfrm>
                <a:off x="6082178" y="3137001"/>
                <a:ext cx="189604" cy="204125"/>
              </a:xfrm>
              <a:custGeom>
                <a:avLst/>
                <a:gdLst>
                  <a:gd name="connsiteX0" fmla="*/ 175290 w 189606"/>
                  <a:gd name="connsiteY0" fmla="*/ 204123 h 204123"/>
                  <a:gd name="connsiteX1" fmla="*/ 164812 w 189606"/>
                  <a:gd name="connsiteY1" fmla="*/ 199399 h 204123"/>
                  <a:gd name="connsiteX2" fmla="*/ 3840 w 189606"/>
                  <a:gd name="connsiteY2" fmla="*/ 23651 h 204123"/>
                  <a:gd name="connsiteX3" fmla="*/ 4792 w 189606"/>
                  <a:gd name="connsiteY3" fmla="*/ 3809 h 204123"/>
                  <a:gd name="connsiteX4" fmla="*/ 24795 w 189606"/>
                  <a:gd name="connsiteY4" fmla="*/ 4754 h 204123"/>
                  <a:gd name="connsiteX5" fmla="*/ 185767 w 189606"/>
                  <a:gd name="connsiteY5" fmla="*/ 179557 h 204123"/>
                  <a:gd name="connsiteX6" fmla="*/ 184815 w 189606"/>
                  <a:gd name="connsiteY6" fmla="*/ 199399 h 204123"/>
                  <a:gd name="connsiteX7" fmla="*/ 175290 w 189606"/>
                  <a:gd name="connsiteY7" fmla="*/ 204123 h 20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9606" h="204123">
                    <a:moveTo>
                      <a:pt x="175290" y="204123"/>
                    </a:moveTo>
                    <a:cubicBezTo>
                      <a:pt x="171480" y="204123"/>
                      <a:pt x="167670" y="202234"/>
                      <a:pt x="164812" y="199399"/>
                    </a:cubicBezTo>
                    <a:lnTo>
                      <a:pt x="3840" y="23651"/>
                    </a:lnTo>
                    <a:cubicBezTo>
                      <a:pt x="-1875" y="17982"/>
                      <a:pt x="-923" y="8533"/>
                      <a:pt x="4792" y="3809"/>
                    </a:cubicBezTo>
                    <a:cubicBezTo>
                      <a:pt x="10507" y="-1860"/>
                      <a:pt x="20032" y="-915"/>
                      <a:pt x="24795" y="4754"/>
                    </a:cubicBezTo>
                    <a:lnTo>
                      <a:pt x="185767" y="179557"/>
                    </a:lnTo>
                    <a:cubicBezTo>
                      <a:pt x="191482" y="185226"/>
                      <a:pt x="190530" y="194675"/>
                      <a:pt x="184815" y="199399"/>
                    </a:cubicBezTo>
                    <a:cubicBezTo>
                      <a:pt x="181957" y="202234"/>
                      <a:pt x="178147" y="204123"/>
                      <a:pt x="175290" y="20412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endParaRPr>
              </a:p>
            </p:txBody>
          </p:sp>
          <p:sp>
            <p:nvSpPr>
              <p:cNvPr id="66" name="Forme libre 48">
                <a:extLst>
                  <a:ext uri="{FF2B5EF4-FFF2-40B4-BE49-F238E27FC236}">
                    <a16:creationId xmlns:a16="http://schemas.microsoft.com/office/drawing/2014/main" id="{3AB889E8-B6CF-49C5-9EAA-C6B55C009747}"/>
                  </a:ext>
                </a:extLst>
              </p:cNvPr>
              <p:cNvSpPr/>
              <p:nvPr/>
            </p:nvSpPr>
            <p:spPr>
              <a:xfrm>
                <a:off x="6082761" y="3312306"/>
                <a:ext cx="188592" cy="192283"/>
              </a:xfrm>
              <a:custGeom>
                <a:avLst/>
                <a:gdLst>
                  <a:gd name="connsiteX0" fmla="*/ 13811 w 188594"/>
                  <a:gd name="connsiteY0" fmla="*/ 192283 h 192283"/>
                  <a:gd name="connsiteX1" fmla="*/ 4286 w 188594"/>
                  <a:gd name="connsiteY1" fmla="*/ 188504 h 192283"/>
                  <a:gd name="connsiteX2" fmla="*/ 4286 w 188594"/>
                  <a:gd name="connsiteY2" fmla="*/ 168661 h 192283"/>
                  <a:gd name="connsiteX3" fmla="*/ 164306 w 188594"/>
                  <a:gd name="connsiteY3" fmla="*/ 4252 h 192283"/>
                  <a:gd name="connsiteX4" fmla="*/ 184309 w 188594"/>
                  <a:gd name="connsiteY4" fmla="*/ 4252 h 192283"/>
                  <a:gd name="connsiteX5" fmla="*/ 184309 w 188594"/>
                  <a:gd name="connsiteY5" fmla="*/ 24094 h 192283"/>
                  <a:gd name="connsiteX6" fmla="*/ 24289 w 188594"/>
                  <a:gd name="connsiteY6" fmla="*/ 188504 h 192283"/>
                  <a:gd name="connsiteX7" fmla="*/ 13811 w 188594"/>
                  <a:gd name="connsiteY7" fmla="*/ 192283 h 192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8594" h="192283">
                    <a:moveTo>
                      <a:pt x="13811" y="192283"/>
                    </a:moveTo>
                    <a:cubicBezTo>
                      <a:pt x="10001" y="192283"/>
                      <a:pt x="6191" y="191338"/>
                      <a:pt x="4286" y="188504"/>
                    </a:cubicBezTo>
                    <a:cubicBezTo>
                      <a:pt x="-1429" y="182834"/>
                      <a:pt x="-1429" y="174330"/>
                      <a:pt x="4286" y="168661"/>
                    </a:cubicBezTo>
                    <a:lnTo>
                      <a:pt x="164306" y="4252"/>
                    </a:lnTo>
                    <a:cubicBezTo>
                      <a:pt x="170021" y="-1417"/>
                      <a:pt x="178594" y="-1417"/>
                      <a:pt x="184309" y="4252"/>
                    </a:cubicBezTo>
                    <a:cubicBezTo>
                      <a:pt x="190024" y="9921"/>
                      <a:pt x="190024" y="18425"/>
                      <a:pt x="184309" y="24094"/>
                    </a:cubicBezTo>
                    <a:lnTo>
                      <a:pt x="24289" y="188504"/>
                    </a:lnTo>
                    <a:cubicBezTo>
                      <a:pt x="21431" y="191338"/>
                      <a:pt x="17621" y="192283"/>
                      <a:pt x="13811" y="19228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>
                  <a:ln w="0"/>
                  <a:solidFill>
                    <a:schemeClr val="accent1"/>
                  </a:solidFill>
                  <a:effectLst>
                    <a:outerShdw blurRad="38100" dist="25400" dir="5400000" algn="ctr" rotWithShape="0">
                      <a:srgbClr val="6E747A">
                        <a:alpha val="43000"/>
                      </a:srgbClr>
                    </a:outerShdw>
                  </a:effectLst>
                </a:endParaRPr>
              </a:p>
            </p:txBody>
          </p:sp>
        </p:grpSp>
      </p:grpSp>
      <p:pic>
        <p:nvPicPr>
          <p:cNvPr id="67" name="Picture 2">
            <a:extLst>
              <a:ext uri="{FF2B5EF4-FFF2-40B4-BE49-F238E27FC236}">
                <a16:creationId xmlns:a16="http://schemas.microsoft.com/office/drawing/2014/main" id="{8C6AB6CF-ABE1-4F1C-9F4A-543F3522AAA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4160" r="400" b="24415"/>
          <a:stretch/>
        </p:blipFill>
        <p:spPr bwMode="auto">
          <a:xfrm>
            <a:off x="8009220" y="2857204"/>
            <a:ext cx="2736568" cy="1411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8" name="Forme libre 17">
            <a:extLst>
              <a:ext uri="{FF2B5EF4-FFF2-40B4-BE49-F238E27FC236}">
                <a16:creationId xmlns:a16="http://schemas.microsoft.com/office/drawing/2014/main" id="{435D9215-1288-4C1B-BF4B-BD1DCA01E96E}"/>
              </a:ext>
            </a:extLst>
          </p:cNvPr>
          <p:cNvSpPr/>
          <p:nvPr/>
        </p:nvSpPr>
        <p:spPr>
          <a:xfrm>
            <a:off x="8002549" y="2650393"/>
            <a:ext cx="2747488" cy="377092"/>
          </a:xfrm>
          <a:custGeom>
            <a:avLst/>
            <a:gdLst>
              <a:gd name="connsiteX0" fmla="*/ 334244 w 3517986"/>
              <a:gd name="connsiteY0" fmla="*/ 0 h 828674"/>
              <a:gd name="connsiteX1" fmla="*/ 3183742 w 3517986"/>
              <a:gd name="connsiteY1" fmla="*/ 0 h 828674"/>
              <a:gd name="connsiteX2" fmla="*/ 3517986 w 3517986"/>
              <a:gd name="connsiteY2" fmla="*/ 334244 h 828674"/>
              <a:gd name="connsiteX3" fmla="*/ 3517986 w 3517986"/>
              <a:gd name="connsiteY3" fmla="*/ 828674 h 828674"/>
              <a:gd name="connsiteX4" fmla="*/ 0 w 3517986"/>
              <a:gd name="connsiteY4" fmla="*/ 828674 h 828674"/>
              <a:gd name="connsiteX5" fmla="*/ 0 w 3517986"/>
              <a:gd name="connsiteY5" fmla="*/ 334244 h 828674"/>
              <a:gd name="connsiteX6" fmla="*/ 334244 w 3517986"/>
              <a:gd name="connsiteY6" fmla="*/ 0 h 82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7986" h="828674">
                <a:moveTo>
                  <a:pt x="334244" y="0"/>
                </a:moveTo>
                <a:lnTo>
                  <a:pt x="3183742" y="0"/>
                </a:lnTo>
                <a:cubicBezTo>
                  <a:pt x="3368340" y="0"/>
                  <a:pt x="3517986" y="149646"/>
                  <a:pt x="3517986" y="334244"/>
                </a:cubicBezTo>
                <a:lnTo>
                  <a:pt x="3517986" y="828674"/>
                </a:lnTo>
                <a:lnTo>
                  <a:pt x="0" y="828674"/>
                </a:lnTo>
                <a:lnTo>
                  <a:pt x="0" y="334244"/>
                </a:lnTo>
                <a:cubicBezTo>
                  <a:pt x="0" y="149646"/>
                  <a:pt x="149646" y="0"/>
                  <a:pt x="33424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fr-FR">
              <a:latin typeface="Avenir Book" panose="02000503020000020003" pitchFamily="2" charset="0"/>
            </a:endParaRPr>
          </a:p>
        </p:txBody>
      </p:sp>
      <p:sp>
        <p:nvSpPr>
          <p:cNvPr id="71" name="ZoneTexte 70">
            <a:extLst>
              <a:ext uri="{FF2B5EF4-FFF2-40B4-BE49-F238E27FC236}">
                <a16:creationId xmlns:a16="http://schemas.microsoft.com/office/drawing/2014/main" id="{35FF6FCE-E4EE-4801-8E72-420C8302A2CA}"/>
              </a:ext>
            </a:extLst>
          </p:cNvPr>
          <p:cNvSpPr txBox="1"/>
          <p:nvPr/>
        </p:nvSpPr>
        <p:spPr>
          <a:xfrm>
            <a:off x="7995812" y="2667512"/>
            <a:ext cx="27499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b="1" dirty="0">
                <a:solidFill>
                  <a:schemeClr val="bg1"/>
                </a:solidFill>
                <a:latin typeface="Avenir LT Std 55 Roman" panose="020B0503020203020204" pitchFamily="34" charset="0"/>
              </a:rPr>
              <a:t>Compostage</a:t>
            </a:r>
          </a:p>
        </p:txBody>
      </p:sp>
      <p:sp>
        <p:nvSpPr>
          <p:cNvPr id="72" name="Rectangle : coins arrondis 71">
            <a:extLst>
              <a:ext uri="{FF2B5EF4-FFF2-40B4-BE49-F238E27FC236}">
                <a16:creationId xmlns:a16="http://schemas.microsoft.com/office/drawing/2014/main" id="{60D71D01-C788-4D7E-A8C8-71E5AA58A3DE}"/>
              </a:ext>
            </a:extLst>
          </p:cNvPr>
          <p:cNvSpPr/>
          <p:nvPr/>
        </p:nvSpPr>
        <p:spPr>
          <a:xfrm>
            <a:off x="8000510" y="4104662"/>
            <a:ext cx="2758401" cy="257354"/>
          </a:xfrm>
          <a:prstGeom prst="roundRect">
            <a:avLst>
              <a:gd name="adj" fmla="val 9501"/>
            </a:avLst>
          </a:prstGeom>
          <a:solidFill>
            <a:schemeClr val="accent4"/>
          </a:solidFill>
          <a:ln>
            <a:noFill/>
          </a:ln>
          <a:effectLst>
            <a:outerShdw blurRad="50800" dist="50800" dir="16200000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>
              <a:latin typeface="Avenir Book" panose="02000503020000020003" pitchFamily="2" charset="0"/>
            </a:endParaRPr>
          </a:p>
        </p:txBody>
      </p:sp>
      <p:grpSp>
        <p:nvGrpSpPr>
          <p:cNvPr id="73" name="Groupe 72">
            <a:extLst>
              <a:ext uri="{FF2B5EF4-FFF2-40B4-BE49-F238E27FC236}">
                <a16:creationId xmlns:a16="http://schemas.microsoft.com/office/drawing/2014/main" id="{5B1292BE-FDD8-4A4D-B6EC-3076DF59D978}"/>
              </a:ext>
            </a:extLst>
          </p:cNvPr>
          <p:cNvGrpSpPr/>
          <p:nvPr/>
        </p:nvGrpSpPr>
        <p:grpSpPr>
          <a:xfrm>
            <a:off x="9300549" y="4261212"/>
            <a:ext cx="240163" cy="203647"/>
            <a:chOff x="5695867" y="1032391"/>
            <a:chExt cx="544596" cy="544596"/>
          </a:xfrm>
        </p:grpSpPr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EC4C25BC-33EC-4A9F-BCEC-0179A51515B0}"/>
                </a:ext>
              </a:extLst>
            </p:cNvPr>
            <p:cNvSpPr/>
            <p:nvPr/>
          </p:nvSpPr>
          <p:spPr>
            <a:xfrm rot="16200000" flipH="1">
              <a:off x="5695867" y="1032391"/>
              <a:ext cx="544596" cy="544596"/>
            </a:xfrm>
            <a:prstGeom prst="ellipse">
              <a:avLst/>
            </a:prstGeom>
            <a:solidFill>
              <a:schemeClr val="bg1"/>
            </a:solidFill>
            <a:ln w="1587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/>
            </a:p>
          </p:txBody>
        </p:sp>
        <p:grpSp>
          <p:nvGrpSpPr>
            <p:cNvPr id="75" name="Graphique 8">
              <a:extLst>
                <a:ext uri="{FF2B5EF4-FFF2-40B4-BE49-F238E27FC236}">
                  <a16:creationId xmlns:a16="http://schemas.microsoft.com/office/drawing/2014/main" id="{7F4A0679-3CF4-4A15-BA9F-58E54F91C65B}"/>
                </a:ext>
              </a:extLst>
            </p:cNvPr>
            <p:cNvGrpSpPr/>
            <p:nvPr/>
          </p:nvGrpSpPr>
          <p:grpSpPr>
            <a:xfrm rot="16200000" flipH="1">
              <a:off x="5941041" y="1263566"/>
              <a:ext cx="59977" cy="124133"/>
              <a:chOff x="6082178" y="3137001"/>
              <a:chExt cx="189604" cy="367588"/>
            </a:xfrm>
            <a:solidFill>
              <a:schemeClr val="tx2"/>
            </a:solidFill>
          </p:grpSpPr>
          <p:sp>
            <p:nvSpPr>
              <p:cNvPr id="76" name="Forme libre 47">
                <a:extLst>
                  <a:ext uri="{FF2B5EF4-FFF2-40B4-BE49-F238E27FC236}">
                    <a16:creationId xmlns:a16="http://schemas.microsoft.com/office/drawing/2014/main" id="{534A8974-1712-4A1E-9BC5-CF7F4B61749B}"/>
                  </a:ext>
                </a:extLst>
              </p:cNvPr>
              <p:cNvSpPr/>
              <p:nvPr/>
            </p:nvSpPr>
            <p:spPr>
              <a:xfrm>
                <a:off x="6082178" y="3137001"/>
                <a:ext cx="189604" cy="204125"/>
              </a:xfrm>
              <a:custGeom>
                <a:avLst/>
                <a:gdLst>
                  <a:gd name="connsiteX0" fmla="*/ 175290 w 189606"/>
                  <a:gd name="connsiteY0" fmla="*/ 204123 h 204123"/>
                  <a:gd name="connsiteX1" fmla="*/ 164812 w 189606"/>
                  <a:gd name="connsiteY1" fmla="*/ 199399 h 204123"/>
                  <a:gd name="connsiteX2" fmla="*/ 3840 w 189606"/>
                  <a:gd name="connsiteY2" fmla="*/ 23651 h 204123"/>
                  <a:gd name="connsiteX3" fmla="*/ 4792 w 189606"/>
                  <a:gd name="connsiteY3" fmla="*/ 3809 h 204123"/>
                  <a:gd name="connsiteX4" fmla="*/ 24795 w 189606"/>
                  <a:gd name="connsiteY4" fmla="*/ 4754 h 204123"/>
                  <a:gd name="connsiteX5" fmla="*/ 185767 w 189606"/>
                  <a:gd name="connsiteY5" fmla="*/ 179557 h 204123"/>
                  <a:gd name="connsiteX6" fmla="*/ 184815 w 189606"/>
                  <a:gd name="connsiteY6" fmla="*/ 199399 h 204123"/>
                  <a:gd name="connsiteX7" fmla="*/ 175290 w 189606"/>
                  <a:gd name="connsiteY7" fmla="*/ 204123 h 2041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9606" h="204123">
                    <a:moveTo>
                      <a:pt x="175290" y="204123"/>
                    </a:moveTo>
                    <a:cubicBezTo>
                      <a:pt x="171480" y="204123"/>
                      <a:pt x="167670" y="202234"/>
                      <a:pt x="164812" y="199399"/>
                    </a:cubicBezTo>
                    <a:lnTo>
                      <a:pt x="3840" y="23651"/>
                    </a:lnTo>
                    <a:cubicBezTo>
                      <a:pt x="-1875" y="17982"/>
                      <a:pt x="-923" y="8533"/>
                      <a:pt x="4792" y="3809"/>
                    </a:cubicBezTo>
                    <a:cubicBezTo>
                      <a:pt x="10507" y="-1860"/>
                      <a:pt x="20032" y="-915"/>
                      <a:pt x="24795" y="4754"/>
                    </a:cubicBezTo>
                    <a:lnTo>
                      <a:pt x="185767" y="179557"/>
                    </a:lnTo>
                    <a:cubicBezTo>
                      <a:pt x="191482" y="185226"/>
                      <a:pt x="190530" y="194675"/>
                      <a:pt x="184815" y="199399"/>
                    </a:cubicBezTo>
                    <a:cubicBezTo>
                      <a:pt x="181957" y="202234"/>
                      <a:pt x="178147" y="204123"/>
                      <a:pt x="175290" y="20412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  <p:sp>
            <p:nvSpPr>
              <p:cNvPr id="77" name="Forme libre 48">
                <a:extLst>
                  <a:ext uri="{FF2B5EF4-FFF2-40B4-BE49-F238E27FC236}">
                    <a16:creationId xmlns:a16="http://schemas.microsoft.com/office/drawing/2014/main" id="{3FDE5E92-1512-49AE-82F9-878DFBB4221C}"/>
                  </a:ext>
                </a:extLst>
              </p:cNvPr>
              <p:cNvSpPr/>
              <p:nvPr/>
            </p:nvSpPr>
            <p:spPr>
              <a:xfrm>
                <a:off x="6082761" y="3312306"/>
                <a:ext cx="188592" cy="192283"/>
              </a:xfrm>
              <a:custGeom>
                <a:avLst/>
                <a:gdLst>
                  <a:gd name="connsiteX0" fmla="*/ 13811 w 188594"/>
                  <a:gd name="connsiteY0" fmla="*/ 192283 h 192283"/>
                  <a:gd name="connsiteX1" fmla="*/ 4286 w 188594"/>
                  <a:gd name="connsiteY1" fmla="*/ 188504 h 192283"/>
                  <a:gd name="connsiteX2" fmla="*/ 4286 w 188594"/>
                  <a:gd name="connsiteY2" fmla="*/ 168661 h 192283"/>
                  <a:gd name="connsiteX3" fmla="*/ 164306 w 188594"/>
                  <a:gd name="connsiteY3" fmla="*/ 4252 h 192283"/>
                  <a:gd name="connsiteX4" fmla="*/ 184309 w 188594"/>
                  <a:gd name="connsiteY4" fmla="*/ 4252 h 192283"/>
                  <a:gd name="connsiteX5" fmla="*/ 184309 w 188594"/>
                  <a:gd name="connsiteY5" fmla="*/ 24094 h 192283"/>
                  <a:gd name="connsiteX6" fmla="*/ 24289 w 188594"/>
                  <a:gd name="connsiteY6" fmla="*/ 188504 h 192283"/>
                  <a:gd name="connsiteX7" fmla="*/ 13811 w 188594"/>
                  <a:gd name="connsiteY7" fmla="*/ 192283 h 1922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88594" h="192283">
                    <a:moveTo>
                      <a:pt x="13811" y="192283"/>
                    </a:moveTo>
                    <a:cubicBezTo>
                      <a:pt x="10001" y="192283"/>
                      <a:pt x="6191" y="191338"/>
                      <a:pt x="4286" y="188504"/>
                    </a:cubicBezTo>
                    <a:cubicBezTo>
                      <a:pt x="-1429" y="182834"/>
                      <a:pt x="-1429" y="174330"/>
                      <a:pt x="4286" y="168661"/>
                    </a:cubicBezTo>
                    <a:lnTo>
                      <a:pt x="164306" y="4252"/>
                    </a:lnTo>
                    <a:cubicBezTo>
                      <a:pt x="170021" y="-1417"/>
                      <a:pt x="178594" y="-1417"/>
                      <a:pt x="184309" y="4252"/>
                    </a:cubicBezTo>
                    <a:cubicBezTo>
                      <a:pt x="190024" y="9921"/>
                      <a:pt x="190024" y="18425"/>
                      <a:pt x="184309" y="24094"/>
                    </a:cubicBezTo>
                    <a:lnTo>
                      <a:pt x="24289" y="188504"/>
                    </a:lnTo>
                    <a:cubicBezTo>
                      <a:pt x="21431" y="191338"/>
                      <a:pt x="17621" y="192283"/>
                      <a:pt x="13811" y="192283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9525" cap="flat">
                <a:solidFill>
                  <a:schemeClr val="accent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fr-FR"/>
              </a:p>
            </p:txBody>
          </p:sp>
        </p:grpSp>
      </p:grpSp>
      <p:cxnSp>
        <p:nvCxnSpPr>
          <p:cNvPr id="23" name="Connecteur : en angle 22">
            <a:extLst>
              <a:ext uri="{FF2B5EF4-FFF2-40B4-BE49-F238E27FC236}">
                <a16:creationId xmlns:a16="http://schemas.microsoft.com/office/drawing/2014/main" id="{18E5512C-E735-42AC-AD41-7271721687F7}"/>
              </a:ext>
            </a:extLst>
          </p:cNvPr>
          <p:cNvCxnSpPr>
            <a:cxnSpLocks/>
            <a:stCxn id="4" idx="3"/>
            <a:endCxn id="71" idx="0"/>
          </p:cNvCxnSpPr>
          <p:nvPr/>
        </p:nvCxnSpPr>
        <p:spPr>
          <a:xfrm>
            <a:off x="6936370" y="2226777"/>
            <a:ext cx="2434430" cy="440735"/>
          </a:xfrm>
          <a:prstGeom prst="bentConnector2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necteur droit avec flèche 42">
            <a:extLst>
              <a:ext uri="{FF2B5EF4-FFF2-40B4-BE49-F238E27FC236}">
                <a16:creationId xmlns:a16="http://schemas.microsoft.com/office/drawing/2014/main" id="{8555F079-C281-431F-B025-BF843F2A8045}"/>
              </a:ext>
            </a:extLst>
          </p:cNvPr>
          <p:cNvCxnSpPr>
            <a:cxnSpLocks/>
          </p:cNvCxnSpPr>
          <p:nvPr/>
        </p:nvCxnSpPr>
        <p:spPr>
          <a:xfrm>
            <a:off x="2975673" y="2359911"/>
            <a:ext cx="0" cy="379775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eur : en angle 87">
            <a:extLst>
              <a:ext uri="{FF2B5EF4-FFF2-40B4-BE49-F238E27FC236}">
                <a16:creationId xmlns:a16="http://schemas.microsoft.com/office/drawing/2014/main" id="{40885450-F11B-4E3F-BE4C-5BCAAA25B484}"/>
              </a:ext>
            </a:extLst>
          </p:cNvPr>
          <p:cNvCxnSpPr>
            <a:cxnSpLocks/>
            <a:stCxn id="63" idx="6"/>
            <a:endCxn id="84" idx="0"/>
          </p:cNvCxnSpPr>
          <p:nvPr/>
        </p:nvCxnSpPr>
        <p:spPr>
          <a:xfrm rot="16200000" flipH="1">
            <a:off x="3447002" y="3967301"/>
            <a:ext cx="367952" cy="1380303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Connecteur : en angle 90">
            <a:extLst>
              <a:ext uri="{FF2B5EF4-FFF2-40B4-BE49-F238E27FC236}">
                <a16:creationId xmlns:a16="http://schemas.microsoft.com/office/drawing/2014/main" id="{5F1FA365-BC1E-48D2-9DCE-EC781EAC6886}"/>
              </a:ext>
            </a:extLst>
          </p:cNvPr>
          <p:cNvCxnSpPr>
            <a:cxnSpLocks/>
            <a:stCxn id="63" idx="6"/>
            <a:endCxn id="83" idx="0"/>
          </p:cNvCxnSpPr>
          <p:nvPr/>
        </p:nvCxnSpPr>
        <p:spPr>
          <a:xfrm rot="5400000">
            <a:off x="2074280" y="3967534"/>
            <a:ext cx="360605" cy="1372491"/>
          </a:xfrm>
          <a:prstGeom prst="bentConnector3">
            <a:avLst>
              <a:gd name="adj1" fmla="val 50000"/>
            </a:avLst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ZoneTexte 100">
            <a:extLst>
              <a:ext uri="{FF2B5EF4-FFF2-40B4-BE49-F238E27FC236}">
                <a16:creationId xmlns:a16="http://schemas.microsoft.com/office/drawing/2014/main" id="{1223005A-1B0C-4907-91C3-C793BC4F0FF4}"/>
              </a:ext>
            </a:extLst>
          </p:cNvPr>
          <p:cNvSpPr txBox="1"/>
          <p:nvPr/>
        </p:nvSpPr>
        <p:spPr>
          <a:xfrm>
            <a:off x="2987652" y="5737001"/>
            <a:ext cx="566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accent3"/>
                </a:solidFill>
              </a:rPr>
              <a:t>+</a:t>
            </a:r>
          </a:p>
        </p:txBody>
      </p:sp>
      <p:sp>
        <p:nvSpPr>
          <p:cNvPr id="102" name="Ellipse 101">
            <a:extLst>
              <a:ext uri="{FF2B5EF4-FFF2-40B4-BE49-F238E27FC236}">
                <a16:creationId xmlns:a16="http://schemas.microsoft.com/office/drawing/2014/main" id="{F5538FF9-EB9A-4D96-926F-D6E71B0AC0A7}"/>
              </a:ext>
            </a:extLst>
          </p:cNvPr>
          <p:cNvSpPr/>
          <p:nvPr/>
        </p:nvSpPr>
        <p:spPr>
          <a:xfrm>
            <a:off x="1888426" y="6038757"/>
            <a:ext cx="2104798" cy="51191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Digestat</a:t>
            </a:r>
          </a:p>
        </p:txBody>
      </p:sp>
      <p:cxnSp>
        <p:nvCxnSpPr>
          <p:cNvPr id="97" name="Connecteur : en angle 96">
            <a:extLst>
              <a:ext uri="{FF2B5EF4-FFF2-40B4-BE49-F238E27FC236}">
                <a16:creationId xmlns:a16="http://schemas.microsoft.com/office/drawing/2014/main" id="{67C94796-6ABD-442A-B288-203D48431CA2}"/>
              </a:ext>
            </a:extLst>
          </p:cNvPr>
          <p:cNvCxnSpPr>
            <a:cxnSpLocks/>
            <a:stCxn id="102" idx="6"/>
            <a:endCxn id="71" idx="1"/>
          </p:cNvCxnSpPr>
          <p:nvPr/>
        </p:nvCxnSpPr>
        <p:spPr>
          <a:xfrm flipV="1">
            <a:off x="3993224" y="2836789"/>
            <a:ext cx="4002588" cy="3457927"/>
          </a:xfrm>
          <a:prstGeom prst="bentConnector3">
            <a:avLst>
              <a:gd name="adj1" fmla="val 93080"/>
            </a:avLst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Ellipse 41">
            <a:extLst>
              <a:ext uri="{FF2B5EF4-FFF2-40B4-BE49-F238E27FC236}">
                <a16:creationId xmlns:a16="http://schemas.microsoft.com/office/drawing/2014/main" id="{DD381BDF-91B8-4C2F-897D-C4E50A514957}"/>
              </a:ext>
            </a:extLst>
          </p:cNvPr>
          <p:cNvSpPr/>
          <p:nvPr/>
        </p:nvSpPr>
        <p:spPr>
          <a:xfrm>
            <a:off x="8368232" y="4843453"/>
            <a:ext cx="2104798" cy="51191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Compost</a:t>
            </a:r>
          </a:p>
        </p:txBody>
      </p:sp>
      <p:cxnSp>
        <p:nvCxnSpPr>
          <p:cNvPr id="8" name="Connecteur droit avec flèche 7">
            <a:extLst>
              <a:ext uri="{FF2B5EF4-FFF2-40B4-BE49-F238E27FC236}">
                <a16:creationId xmlns:a16="http://schemas.microsoft.com/office/drawing/2014/main" id="{312A13F2-E657-423E-992E-0979D5C76F27}"/>
              </a:ext>
            </a:extLst>
          </p:cNvPr>
          <p:cNvCxnSpPr>
            <a:stCxn id="74" idx="6"/>
            <a:endCxn id="42" idx="0"/>
          </p:cNvCxnSpPr>
          <p:nvPr/>
        </p:nvCxnSpPr>
        <p:spPr>
          <a:xfrm>
            <a:off x="9420631" y="4464859"/>
            <a:ext cx="0" cy="378594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6E8C6D75-1784-4B23-AC5E-775C17FEA0FC}"/>
              </a:ext>
            </a:extLst>
          </p:cNvPr>
          <p:cNvSpPr/>
          <p:nvPr/>
        </p:nvSpPr>
        <p:spPr>
          <a:xfrm>
            <a:off x="8368232" y="5680859"/>
            <a:ext cx="2104798" cy="40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Avenir LT Std 55 Roman" panose="020B0503020203020204" pitchFamily="34" charset="0"/>
              </a:rPr>
              <a:t>Retour au sol</a:t>
            </a:r>
          </a:p>
        </p:txBody>
      </p:sp>
      <p:cxnSp>
        <p:nvCxnSpPr>
          <p:cNvPr id="15" name="Connecteur droit avec flèche 14">
            <a:extLst>
              <a:ext uri="{FF2B5EF4-FFF2-40B4-BE49-F238E27FC236}">
                <a16:creationId xmlns:a16="http://schemas.microsoft.com/office/drawing/2014/main" id="{8389F8FF-050B-4AAD-8070-6E9FF2249631}"/>
              </a:ext>
            </a:extLst>
          </p:cNvPr>
          <p:cNvCxnSpPr>
            <a:stCxn id="42" idx="4"/>
            <a:endCxn id="13" idx="0"/>
          </p:cNvCxnSpPr>
          <p:nvPr/>
        </p:nvCxnSpPr>
        <p:spPr>
          <a:xfrm>
            <a:off x="9420631" y="5355370"/>
            <a:ext cx="0" cy="32548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ZoneTexte 50">
            <a:extLst>
              <a:ext uri="{FF2B5EF4-FFF2-40B4-BE49-F238E27FC236}">
                <a16:creationId xmlns:a16="http://schemas.microsoft.com/office/drawing/2014/main" id="{E2BCFD9A-E626-4973-AC01-CDF8F0E3C829}"/>
              </a:ext>
            </a:extLst>
          </p:cNvPr>
          <p:cNvSpPr txBox="1"/>
          <p:nvPr/>
        </p:nvSpPr>
        <p:spPr>
          <a:xfrm>
            <a:off x="2335693" y="5740088"/>
            <a:ext cx="566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accent3"/>
                </a:solidFill>
              </a:rPr>
              <a:t>+</a:t>
            </a:r>
          </a:p>
        </p:txBody>
      </p:sp>
      <p:sp>
        <p:nvSpPr>
          <p:cNvPr id="69" name="ZoneTexte 68">
            <a:extLst>
              <a:ext uri="{FF2B5EF4-FFF2-40B4-BE49-F238E27FC236}">
                <a16:creationId xmlns:a16="http://schemas.microsoft.com/office/drawing/2014/main" id="{17FAA3BE-23DF-4DBA-871D-44E5DB112FA8}"/>
              </a:ext>
            </a:extLst>
          </p:cNvPr>
          <p:cNvSpPr txBox="1"/>
          <p:nvPr/>
        </p:nvSpPr>
        <p:spPr>
          <a:xfrm>
            <a:off x="8226094" y="6035574"/>
            <a:ext cx="24463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solidFill>
                  <a:schemeClr val="accent3"/>
                </a:solidFill>
                <a:latin typeface="Avenir LT Std 55 Roman" panose="020B0503020203020204" pitchFamily="34" charset="0"/>
              </a:rPr>
              <a:t>soutien de </a:t>
            </a:r>
          </a:p>
          <a:p>
            <a:pPr algn="ctr"/>
            <a:r>
              <a:rPr lang="fr-FR" sz="1600" dirty="0">
                <a:solidFill>
                  <a:schemeClr val="accent3"/>
                </a:solidFill>
                <a:latin typeface="Avenir LT Std 55 Roman" panose="020B0503020203020204" pitchFamily="34" charset="0"/>
              </a:rPr>
              <a:t>l’agriculture locale</a:t>
            </a: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4659A6D4-D2C4-44E1-8DF4-26538C3C1EF7}"/>
              </a:ext>
            </a:extLst>
          </p:cNvPr>
          <p:cNvSpPr/>
          <p:nvPr/>
        </p:nvSpPr>
        <p:spPr>
          <a:xfrm>
            <a:off x="515937" y="4834082"/>
            <a:ext cx="2104798" cy="422625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Avenir LT Std 55 Roman" panose="020B0503020203020204" pitchFamily="34" charset="0"/>
              </a:rPr>
              <a:t>Cogénération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54E83547-46B4-4F70-AE69-4F758AF43C40}"/>
              </a:ext>
            </a:extLst>
          </p:cNvPr>
          <p:cNvSpPr/>
          <p:nvPr/>
        </p:nvSpPr>
        <p:spPr>
          <a:xfrm>
            <a:off x="3268731" y="4841429"/>
            <a:ext cx="2104798" cy="422625"/>
          </a:xfrm>
          <a:prstGeom prst="rect">
            <a:avLst/>
          </a:prstGeom>
          <a:ln>
            <a:noFill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Avenir LT Std 55 Roman" panose="020B0503020203020204" pitchFamily="34" charset="0"/>
              </a:rPr>
              <a:t>Injection</a:t>
            </a:r>
          </a:p>
        </p:txBody>
      </p:sp>
      <p:sp>
        <p:nvSpPr>
          <p:cNvPr id="98" name="Ellipse 97">
            <a:extLst>
              <a:ext uri="{FF2B5EF4-FFF2-40B4-BE49-F238E27FC236}">
                <a16:creationId xmlns:a16="http://schemas.microsoft.com/office/drawing/2014/main" id="{2239DBA9-AD53-47C3-9258-9FD0FCF3B4D1}"/>
              </a:ext>
            </a:extLst>
          </p:cNvPr>
          <p:cNvSpPr/>
          <p:nvPr/>
        </p:nvSpPr>
        <p:spPr>
          <a:xfrm>
            <a:off x="534331" y="5444624"/>
            <a:ext cx="2104798" cy="51191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2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Chaleur &amp; Electricité</a:t>
            </a:r>
          </a:p>
        </p:txBody>
      </p:sp>
      <p:sp>
        <p:nvSpPr>
          <p:cNvPr id="103" name="Ellipse 102">
            <a:extLst>
              <a:ext uri="{FF2B5EF4-FFF2-40B4-BE49-F238E27FC236}">
                <a16:creationId xmlns:a16="http://schemas.microsoft.com/office/drawing/2014/main" id="{A7F76702-B327-4954-AFEA-6003DFC28F73}"/>
              </a:ext>
            </a:extLst>
          </p:cNvPr>
          <p:cNvSpPr/>
          <p:nvPr/>
        </p:nvSpPr>
        <p:spPr>
          <a:xfrm>
            <a:off x="3265591" y="5444624"/>
            <a:ext cx="2104798" cy="51191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Biométhane</a:t>
            </a:r>
          </a:p>
        </p:txBody>
      </p:sp>
      <p:sp>
        <p:nvSpPr>
          <p:cNvPr id="104" name="ZoneTexte 103">
            <a:extLst>
              <a:ext uri="{FF2B5EF4-FFF2-40B4-BE49-F238E27FC236}">
                <a16:creationId xmlns:a16="http://schemas.microsoft.com/office/drawing/2014/main" id="{03137484-DBC4-45FF-9D83-AAE00A75CB82}"/>
              </a:ext>
            </a:extLst>
          </p:cNvPr>
          <p:cNvSpPr txBox="1"/>
          <p:nvPr/>
        </p:nvSpPr>
        <p:spPr>
          <a:xfrm>
            <a:off x="1285295" y="5150611"/>
            <a:ext cx="566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accent3"/>
                </a:solidFill>
              </a:rPr>
              <a:t>=</a:t>
            </a:r>
          </a:p>
        </p:txBody>
      </p:sp>
      <p:sp>
        <p:nvSpPr>
          <p:cNvPr id="105" name="ZoneTexte 104">
            <a:extLst>
              <a:ext uri="{FF2B5EF4-FFF2-40B4-BE49-F238E27FC236}">
                <a16:creationId xmlns:a16="http://schemas.microsoft.com/office/drawing/2014/main" id="{212148E1-9AF8-4FC9-B60F-41DAE47A4A6A}"/>
              </a:ext>
            </a:extLst>
          </p:cNvPr>
          <p:cNvSpPr txBox="1"/>
          <p:nvPr/>
        </p:nvSpPr>
        <p:spPr>
          <a:xfrm>
            <a:off x="4034949" y="5150611"/>
            <a:ext cx="56608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>
                <a:solidFill>
                  <a:schemeClr val="accent3"/>
                </a:solidFill>
              </a:rPr>
              <a:t>=</a:t>
            </a:r>
          </a:p>
        </p:txBody>
      </p:sp>
      <p:cxnSp>
        <p:nvCxnSpPr>
          <p:cNvPr id="107" name="Connecteur : en angle 106">
            <a:extLst>
              <a:ext uri="{FF2B5EF4-FFF2-40B4-BE49-F238E27FC236}">
                <a16:creationId xmlns:a16="http://schemas.microsoft.com/office/drawing/2014/main" id="{A2F96F85-E83C-4AF1-8825-AE28B34BE1F5}"/>
              </a:ext>
            </a:extLst>
          </p:cNvPr>
          <p:cNvCxnSpPr>
            <a:cxnSpLocks/>
            <a:stCxn id="103" idx="6"/>
            <a:endCxn id="116" idx="2"/>
          </p:cNvCxnSpPr>
          <p:nvPr/>
        </p:nvCxnSpPr>
        <p:spPr>
          <a:xfrm flipV="1">
            <a:off x="5370389" y="5700582"/>
            <a:ext cx="616066" cy="1"/>
          </a:xfrm>
          <a:prstGeom prst="bentConnector3">
            <a:avLst>
              <a:gd name="adj1" fmla="val 50000"/>
            </a:avLst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Ellipse 115">
            <a:extLst>
              <a:ext uri="{FF2B5EF4-FFF2-40B4-BE49-F238E27FC236}">
                <a16:creationId xmlns:a16="http://schemas.microsoft.com/office/drawing/2014/main" id="{E54D2383-92F2-495B-8FBE-CE3836F0E0DA}"/>
              </a:ext>
            </a:extLst>
          </p:cNvPr>
          <p:cNvSpPr/>
          <p:nvPr/>
        </p:nvSpPr>
        <p:spPr>
          <a:xfrm>
            <a:off x="5986455" y="5444623"/>
            <a:ext cx="1598718" cy="51191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 err="1">
                <a:solidFill>
                  <a:schemeClr val="bg1"/>
                </a:solidFill>
                <a:latin typeface="Avenir LT Std 55 Roman" panose="020B0503020203020204" pitchFamily="34" charset="0"/>
              </a:rPr>
              <a:t>BioGNV</a:t>
            </a:r>
            <a:endParaRPr lang="fr-FR" sz="1600" dirty="0">
              <a:solidFill>
                <a:schemeClr val="bg1"/>
              </a:solidFill>
              <a:latin typeface="Avenir LT Std 55 Roman" panose="020B0503020203020204" pitchFamily="34" charset="0"/>
            </a:endParaRPr>
          </a:p>
        </p:txBody>
      </p:sp>
      <p:cxnSp>
        <p:nvCxnSpPr>
          <p:cNvPr id="49" name="Connecteur : en angle 48">
            <a:extLst>
              <a:ext uri="{FF2B5EF4-FFF2-40B4-BE49-F238E27FC236}">
                <a16:creationId xmlns:a16="http://schemas.microsoft.com/office/drawing/2014/main" id="{BCCD399D-697E-41B2-AE76-30474B92D858}"/>
              </a:ext>
            </a:extLst>
          </p:cNvPr>
          <p:cNvCxnSpPr>
            <a:cxnSpLocks/>
            <a:endCxn id="52" idx="2"/>
          </p:cNvCxnSpPr>
          <p:nvPr/>
        </p:nvCxnSpPr>
        <p:spPr>
          <a:xfrm rot="5400000" flipH="1" flipV="1">
            <a:off x="5478064" y="5203799"/>
            <a:ext cx="576275" cy="377848"/>
          </a:xfrm>
          <a:prstGeom prst="bentConnector2">
            <a:avLst/>
          </a:prstGeom>
          <a:ln w="38100"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Ellipse 51">
            <a:extLst>
              <a:ext uri="{FF2B5EF4-FFF2-40B4-BE49-F238E27FC236}">
                <a16:creationId xmlns:a16="http://schemas.microsoft.com/office/drawing/2014/main" id="{788FA4B9-1614-4A45-87B8-441C34FF902F}"/>
              </a:ext>
            </a:extLst>
          </p:cNvPr>
          <p:cNvSpPr/>
          <p:nvPr/>
        </p:nvSpPr>
        <p:spPr>
          <a:xfrm>
            <a:off x="5955125" y="4848626"/>
            <a:ext cx="1598718" cy="51191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Energie</a:t>
            </a:r>
          </a:p>
        </p:txBody>
      </p:sp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1050DE89-D5E2-4A61-8BEB-9430C9CAA561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7713452" y="5885526"/>
            <a:ext cx="654780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Ellipse 45">
            <a:extLst>
              <a:ext uri="{FF2B5EF4-FFF2-40B4-BE49-F238E27FC236}">
                <a16:creationId xmlns:a16="http://schemas.microsoft.com/office/drawing/2014/main" id="{BB682D7D-41FD-40CA-A9A1-C290BA990BAA}"/>
              </a:ext>
            </a:extLst>
          </p:cNvPr>
          <p:cNvSpPr/>
          <p:nvPr/>
        </p:nvSpPr>
        <p:spPr>
          <a:xfrm>
            <a:off x="4268554" y="1161501"/>
            <a:ext cx="3274465" cy="64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fr-FR" dirty="0">
                <a:solidFill>
                  <a:schemeClr val="bg1"/>
                </a:solidFill>
                <a:latin typeface="Avenir LT Std 55 Roman" panose="020B0503020203020204" pitchFamily="34" charset="0"/>
              </a:rPr>
              <a:t>Biodéchets</a:t>
            </a:r>
          </a:p>
        </p:txBody>
      </p:sp>
      <p:sp>
        <p:nvSpPr>
          <p:cNvPr id="56" name="ZoneTexte 55">
            <a:extLst>
              <a:ext uri="{FF2B5EF4-FFF2-40B4-BE49-F238E27FC236}">
                <a16:creationId xmlns:a16="http://schemas.microsoft.com/office/drawing/2014/main" id="{5A596067-B15B-456E-ACB9-013DC9FDC3F2}"/>
              </a:ext>
            </a:extLst>
          </p:cNvPr>
          <p:cNvSpPr txBox="1"/>
          <p:nvPr/>
        </p:nvSpPr>
        <p:spPr>
          <a:xfrm>
            <a:off x="4809933" y="1467026"/>
            <a:ext cx="219170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200" dirty="0">
                <a:solidFill>
                  <a:schemeClr val="bg1"/>
                </a:solidFill>
                <a:latin typeface="Avenir LT Std 55 Roman" panose="020B0503020203020204" pitchFamily="34" charset="0"/>
              </a:rPr>
              <a:t>issus de la collecte sélective</a:t>
            </a:r>
          </a:p>
        </p:txBody>
      </p:sp>
      <p:pic>
        <p:nvPicPr>
          <p:cNvPr id="7" name="Picture 2" descr="FLEXIDRY déconditionneur de biodéchets - Green Creative">
            <a:extLst>
              <a:ext uri="{FF2B5EF4-FFF2-40B4-BE49-F238E27FC236}">
                <a16:creationId xmlns:a16="http://schemas.microsoft.com/office/drawing/2014/main" id="{293E6E59-D444-F155-B861-D5932D6EB9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21" t="25770" r="14225" b="25262"/>
          <a:stretch/>
        </p:blipFill>
        <p:spPr bwMode="auto">
          <a:xfrm>
            <a:off x="4504479" y="2497698"/>
            <a:ext cx="2901291" cy="1226633"/>
          </a:xfrm>
          <a:prstGeom prst="rect">
            <a:avLst/>
          </a:prstGeom>
          <a:noFill/>
          <a:ln w="38100">
            <a:solidFill>
              <a:schemeClr val="accent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1CC4689-DE5D-5E61-D5EC-206EE907D84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0250" y="1436241"/>
            <a:ext cx="1552513" cy="1112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08036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ZoneTexte 10">
            <a:extLst>
              <a:ext uri="{FF2B5EF4-FFF2-40B4-BE49-F238E27FC236}">
                <a16:creationId xmlns:a16="http://schemas.microsoft.com/office/drawing/2014/main" id="{14543767-128D-BFE4-83B2-19A088720E8E}"/>
              </a:ext>
            </a:extLst>
          </p:cNvPr>
          <p:cNvSpPr txBox="1"/>
          <p:nvPr/>
        </p:nvSpPr>
        <p:spPr>
          <a:xfrm>
            <a:off x="0" y="947337"/>
            <a:ext cx="177503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dirty="0">
                <a:solidFill>
                  <a:schemeClr val="accent1"/>
                </a:solidFill>
              </a:rPr>
              <a:t>Valeurs</a:t>
            </a:r>
          </a:p>
        </p:txBody>
      </p:sp>
      <p:sp>
        <p:nvSpPr>
          <p:cNvPr id="23" name="Forme libre 15">
            <a:extLst>
              <a:ext uri="{FF2B5EF4-FFF2-40B4-BE49-F238E27FC236}">
                <a16:creationId xmlns:a16="http://schemas.microsoft.com/office/drawing/2014/main" id="{033E0316-9774-D8E8-29D6-101712B80A95}"/>
              </a:ext>
            </a:extLst>
          </p:cNvPr>
          <p:cNvSpPr/>
          <p:nvPr/>
        </p:nvSpPr>
        <p:spPr>
          <a:xfrm>
            <a:off x="747896" y="1506117"/>
            <a:ext cx="1601922" cy="899596"/>
          </a:xfrm>
          <a:custGeom>
            <a:avLst/>
            <a:gdLst>
              <a:gd name="connsiteX0" fmla="*/ 334244 w 3517986"/>
              <a:gd name="connsiteY0" fmla="*/ 0 h 828674"/>
              <a:gd name="connsiteX1" fmla="*/ 3183742 w 3517986"/>
              <a:gd name="connsiteY1" fmla="*/ 0 h 828674"/>
              <a:gd name="connsiteX2" fmla="*/ 3517986 w 3517986"/>
              <a:gd name="connsiteY2" fmla="*/ 334244 h 828674"/>
              <a:gd name="connsiteX3" fmla="*/ 3517986 w 3517986"/>
              <a:gd name="connsiteY3" fmla="*/ 828674 h 828674"/>
              <a:gd name="connsiteX4" fmla="*/ 0 w 3517986"/>
              <a:gd name="connsiteY4" fmla="*/ 828674 h 828674"/>
              <a:gd name="connsiteX5" fmla="*/ 0 w 3517986"/>
              <a:gd name="connsiteY5" fmla="*/ 334244 h 828674"/>
              <a:gd name="connsiteX6" fmla="*/ 334244 w 3517986"/>
              <a:gd name="connsiteY6" fmla="*/ 0 h 82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7986" h="828674">
                <a:moveTo>
                  <a:pt x="334244" y="0"/>
                </a:moveTo>
                <a:lnTo>
                  <a:pt x="3183742" y="0"/>
                </a:lnTo>
                <a:cubicBezTo>
                  <a:pt x="3368340" y="0"/>
                  <a:pt x="3517986" y="149646"/>
                  <a:pt x="3517986" y="334244"/>
                </a:cubicBezTo>
                <a:lnTo>
                  <a:pt x="3517986" y="828674"/>
                </a:lnTo>
                <a:lnTo>
                  <a:pt x="0" y="828674"/>
                </a:lnTo>
                <a:lnTo>
                  <a:pt x="0" y="334244"/>
                </a:lnTo>
                <a:cubicBezTo>
                  <a:pt x="0" y="149646"/>
                  <a:pt x="149646" y="0"/>
                  <a:pt x="33424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+mn-cs"/>
            </a:endParaRP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105C47D4-ECE8-5985-D877-62ADC2A5A4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4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4A34F50E-3083-DCF1-2DCC-C88E4FB16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428" y="159067"/>
            <a:ext cx="11189144" cy="1016539"/>
          </a:xfrm>
        </p:spPr>
        <p:txBody>
          <a:bodyPr/>
          <a:lstStyle/>
          <a:p>
            <a:r>
              <a:rPr lang="fr-FR" dirty="0"/>
              <a:t>Quelles solutions de valorisation des biodéchets ? </a:t>
            </a:r>
          </a:p>
        </p:txBody>
      </p:sp>
      <p:pic>
        <p:nvPicPr>
          <p:cNvPr id="1026" name="Picture 2" descr="Composteur design, comment choisir les meilleurs produits pour 2022 ...">
            <a:extLst>
              <a:ext uri="{FF2B5EF4-FFF2-40B4-BE49-F238E27FC236}">
                <a16:creationId xmlns:a16="http://schemas.microsoft.com/office/drawing/2014/main" id="{B0EDD941-67D2-441A-2234-34289FEDEE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747" y="2147442"/>
            <a:ext cx="1614069" cy="24380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Connecteur droit avec flèche 5">
            <a:extLst>
              <a:ext uri="{FF2B5EF4-FFF2-40B4-BE49-F238E27FC236}">
                <a16:creationId xmlns:a16="http://schemas.microsoft.com/office/drawing/2014/main" id="{BC8381E7-0E75-37D1-C1D4-AF0E94F4FAA7}"/>
              </a:ext>
            </a:extLst>
          </p:cNvPr>
          <p:cNvCxnSpPr/>
          <p:nvPr/>
        </p:nvCxnSpPr>
        <p:spPr>
          <a:xfrm>
            <a:off x="486920" y="5843239"/>
            <a:ext cx="10184797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avec flèche 6">
            <a:extLst>
              <a:ext uri="{FF2B5EF4-FFF2-40B4-BE49-F238E27FC236}">
                <a16:creationId xmlns:a16="http://schemas.microsoft.com/office/drawing/2014/main" id="{888D8729-D497-5FBC-BC6F-9A5941395EC0}"/>
              </a:ext>
            </a:extLst>
          </p:cNvPr>
          <p:cNvCxnSpPr>
            <a:cxnSpLocks/>
          </p:cNvCxnSpPr>
          <p:nvPr/>
        </p:nvCxnSpPr>
        <p:spPr>
          <a:xfrm flipV="1">
            <a:off x="639320" y="1114964"/>
            <a:ext cx="0" cy="4880675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ZoneTexte 9">
            <a:extLst>
              <a:ext uri="{FF2B5EF4-FFF2-40B4-BE49-F238E27FC236}">
                <a16:creationId xmlns:a16="http://schemas.microsoft.com/office/drawing/2014/main" id="{859A803D-DC12-2A1E-4A7B-28F51E5D4256}"/>
              </a:ext>
            </a:extLst>
          </p:cNvPr>
          <p:cNvSpPr txBox="1"/>
          <p:nvPr/>
        </p:nvSpPr>
        <p:spPr>
          <a:xfrm>
            <a:off x="7555589" y="5870678"/>
            <a:ext cx="33420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accent1"/>
                </a:solidFill>
              </a:rPr>
              <a:t>Complexité de la solution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8CD82A8A-522F-1773-5656-D59157368BF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24160" r="400" b="24415"/>
          <a:stretch/>
        </p:blipFill>
        <p:spPr bwMode="auto">
          <a:xfrm>
            <a:off x="4722754" y="3736083"/>
            <a:ext cx="2736568" cy="1411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ZoneTexte 13">
            <a:extLst>
              <a:ext uri="{FF2B5EF4-FFF2-40B4-BE49-F238E27FC236}">
                <a16:creationId xmlns:a16="http://schemas.microsoft.com/office/drawing/2014/main" id="{11F5CF1F-F66F-6F5D-758C-C3D9FF04A0F4}"/>
              </a:ext>
            </a:extLst>
          </p:cNvPr>
          <p:cNvSpPr txBox="1"/>
          <p:nvPr/>
        </p:nvSpPr>
        <p:spPr>
          <a:xfrm>
            <a:off x="391873" y="4605354"/>
            <a:ext cx="232365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/>
              <a:t>Réduction des déchets.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6E0C85E2-8C5C-D243-ADBA-0656D0F7786D}"/>
              </a:ext>
            </a:extLst>
          </p:cNvPr>
          <p:cNvSpPr txBox="1"/>
          <p:nvPr/>
        </p:nvSpPr>
        <p:spPr>
          <a:xfrm>
            <a:off x="4200526" y="5138951"/>
            <a:ext cx="39052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/>
              <a:t>Collecte centralisée.</a:t>
            </a:r>
            <a:endParaRPr lang="fr-FR" dirty="0"/>
          </a:p>
          <a:p>
            <a:r>
              <a:rPr lang="fr-FR" dirty="0"/>
              <a:t>Valorisation matière : retour au sol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426407A6-BC18-1A43-E8D6-AD40981DBC82}"/>
              </a:ext>
            </a:extLst>
          </p:cNvPr>
          <p:cNvSpPr txBox="1"/>
          <p:nvPr/>
        </p:nvSpPr>
        <p:spPr>
          <a:xfrm>
            <a:off x="8105777" y="4114659"/>
            <a:ext cx="35612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Collecte centralisée.</a:t>
            </a:r>
          </a:p>
          <a:p>
            <a:r>
              <a:rPr lang="fr-FR" dirty="0"/>
              <a:t>Investissement plus conséquent</a:t>
            </a:r>
          </a:p>
          <a:p>
            <a:r>
              <a:rPr lang="fr-FR" dirty="0"/>
              <a:t>Valorisation matière (retour au sol) et valorisation énergie</a:t>
            </a:r>
          </a:p>
        </p:txBody>
      </p:sp>
      <p:pic>
        <p:nvPicPr>
          <p:cNvPr id="17" name="Image 16" descr="Une image contenant ciel, bâtiment, extérieur, dôme&#10;&#10;Description générée automatiquement">
            <a:extLst>
              <a:ext uri="{FF2B5EF4-FFF2-40B4-BE49-F238E27FC236}">
                <a16:creationId xmlns:a16="http://schemas.microsoft.com/office/drawing/2014/main" id="{3DC2FECB-7208-FACF-BF86-2852337DD0B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264" r="3726" b="11210"/>
          <a:stretch/>
        </p:blipFill>
        <p:spPr>
          <a:xfrm>
            <a:off x="8299391" y="2738241"/>
            <a:ext cx="2750941" cy="1343608"/>
          </a:xfrm>
          <a:prstGeom prst="rect">
            <a:avLst/>
          </a:prstGeom>
        </p:spPr>
      </p:pic>
      <p:sp>
        <p:nvSpPr>
          <p:cNvPr id="18" name="Forme libre 15">
            <a:extLst>
              <a:ext uri="{FF2B5EF4-FFF2-40B4-BE49-F238E27FC236}">
                <a16:creationId xmlns:a16="http://schemas.microsoft.com/office/drawing/2014/main" id="{6C7226D6-9C35-4139-29BC-FCB56FF5D92F}"/>
              </a:ext>
            </a:extLst>
          </p:cNvPr>
          <p:cNvSpPr/>
          <p:nvPr/>
        </p:nvSpPr>
        <p:spPr>
          <a:xfrm>
            <a:off x="8300592" y="2476093"/>
            <a:ext cx="2758401" cy="396824"/>
          </a:xfrm>
          <a:custGeom>
            <a:avLst/>
            <a:gdLst>
              <a:gd name="connsiteX0" fmla="*/ 334244 w 3517986"/>
              <a:gd name="connsiteY0" fmla="*/ 0 h 828674"/>
              <a:gd name="connsiteX1" fmla="*/ 3183742 w 3517986"/>
              <a:gd name="connsiteY1" fmla="*/ 0 h 828674"/>
              <a:gd name="connsiteX2" fmla="*/ 3517986 w 3517986"/>
              <a:gd name="connsiteY2" fmla="*/ 334244 h 828674"/>
              <a:gd name="connsiteX3" fmla="*/ 3517986 w 3517986"/>
              <a:gd name="connsiteY3" fmla="*/ 828674 h 828674"/>
              <a:gd name="connsiteX4" fmla="*/ 0 w 3517986"/>
              <a:gd name="connsiteY4" fmla="*/ 828674 h 828674"/>
              <a:gd name="connsiteX5" fmla="*/ 0 w 3517986"/>
              <a:gd name="connsiteY5" fmla="*/ 334244 h 828674"/>
              <a:gd name="connsiteX6" fmla="*/ 334244 w 3517986"/>
              <a:gd name="connsiteY6" fmla="*/ 0 h 82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7986" h="828674">
                <a:moveTo>
                  <a:pt x="334244" y="0"/>
                </a:moveTo>
                <a:lnTo>
                  <a:pt x="3183742" y="0"/>
                </a:lnTo>
                <a:cubicBezTo>
                  <a:pt x="3368340" y="0"/>
                  <a:pt x="3517986" y="149646"/>
                  <a:pt x="3517986" y="334244"/>
                </a:cubicBezTo>
                <a:lnTo>
                  <a:pt x="3517986" y="828674"/>
                </a:lnTo>
                <a:lnTo>
                  <a:pt x="0" y="828674"/>
                </a:lnTo>
                <a:lnTo>
                  <a:pt x="0" y="334244"/>
                </a:lnTo>
                <a:cubicBezTo>
                  <a:pt x="0" y="149646"/>
                  <a:pt x="149646" y="0"/>
                  <a:pt x="33424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+mn-cs"/>
            </a:endParaRPr>
          </a:p>
        </p:txBody>
      </p:sp>
      <p:sp>
        <p:nvSpPr>
          <p:cNvPr id="19" name="ZoneTexte 18">
            <a:extLst>
              <a:ext uri="{FF2B5EF4-FFF2-40B4-BE49-F238E27FC236}">
                <a16:creationId xmlns:a16="http://schemas.microsoft.com/office/drawing/2014/main" id="{112157FE-D08D-F375-5195-A2078ECC83C0}"/>
              </a:ext>
            </a:extLst>
          </p:cNvPr>
          <p:cNvSpPr txBox="1"/>
          <p:nvPr/>
        </p:nvSpPr>
        <p:spPr>
          <a:xfrm>
            <a:off x="8310277" y="2508868"/>
            <a:ext cx="27509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LT Std 55 Roman" panose="020B0503020203020204" pitchFamily="34" charset="0"/>
                <a:ea typeface="+mn-ea"/>
                <a:cs typeface="+mn-cs"/>
              </a:rPr>
              <a:t>Méthanisation</a:t>
            </a:r>
          </a:p>
        </p:txBody>
      </p:sp>
      <p:sp>
        <p:nvSpPr>
          <p:cNvPr id="21" name="Forme libre 15">
            <a:extLst>
              <a:ext uri="{FF2B5EF4-FFF2-40B4-BE49-F238E27FC236}">
                <a16:creationId xmlns:a16="http://schemas.microsoft.com/office/drawing/2014/main" id="{3A4A988C-2B88-05FB-1AF4-0A44056B15FA}"/>
              </a:ext>
            </a:extLst>
          </p:cNvPr>
          <p:cNvSpPr/>
          <p:nvPr/>
        </p:nvSpPr>
        <p:spPr>
          <a:xfrm>
            <a:off x="4713069" y="3079395"/>
            <a:ext cx="2758401" cy="650345"/>
          </a:xfrm>
          <a:custGeom>
            <a:avLst/>
            <a:gdLst>
              <a:gd name="connsiteX0" fmla="*/ 334244 w 3517986"/>
              <a:gd name="connsiteY0" fmla="*/ 0 h 828674"/>
              <a:gd name="connsiteX1" fmla="*/ 3183742 w 3517986"/>
              <a:gd name="connsiteY1" fmla="*/ 0 h 828674"/>
              <a:gd name="connsiteX2" fmla="*/ 3517986 w 3517986"/>
              <a:gd name="connsiteY2" fmla="*/ 334244 h 828674"/>
              <a:gd name="connsiteX3" fmla="*/ 3517986 w 3517986"/>
              <a:gd name="connsiteY3" fmla="*/ 828674 h 828674"/>
              <a:gd name="connsiteX4" fmla="*/ 0 w 3517986"/>
              <a:gd name="connsiteY4" fmla="*/ 828674 h 828674"/>
              <a:gd name="connsiteX5" fmla="*/ 0 w 3517986"/>
              <a:gd name="connsiteY5" fmla="*/ 334244 h 828674"/>
              <a:gd name="connsiteX6" fmla="*/ 334244 w 3517986"/>
              <a:gd name="connsiteY6" fmla="*/ 0 h 828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17986" h="828674">
                <a:moveTo>
                  <a:pt x="334244" y="0"/>
                </a:moveTo>
                <a:lnTo>
                  <a:pt x="3183742" y="0"/>
                </a:lnTo>
                <a:cubicBezTo>
                  <a:pt x="3368340" y="0"/>
                  <a:pt x="3517986" y="149646"/>
                  <a:pt x="3517986" y="334244"/>
                </a:cubicBezTo>
                <a:lnTo>
                  <a:pt x="3517986" y="828674"/>
                </a:lnTo>
                <a:lnTo>
                  <a:pt x="0" y="828674"/>
                </a:lnTo>
                <a:lnTo>
                  <a:pt x="0" y="334244"/>
                </a:lnTo>
                <a:cubicBezTo>
                  <a:pt x="0" y="149646"/>
                  <a:pt x="149646" y="0"/>
                  <a:pt x="334244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Book" panose="02000503020000020003" pitchFamily="2" charset="0"/>
              <a:ea typeface="+mn-ea"/>
              <a:cs typeface="+mn-cs"/>
            </a:endParaRPr>
          </a:p>
        </p:txBody>
      </p:sp>
      <p:sp>
        <p:nvSpPr>
          <p:cNvPr id="22" name="ZoneTexte 21">
            <a:extLst>
              <a:ext uri="{FF2B5EF4-FFF2-40B4-BE49-F238E27FC236}">
                <a16:creationId xmlns:a16="http://schemas.microsoft.com/office/drawing/2014/main" id="{83692955-F42C-AAB8-604A-67686C469676}"/>
              </a:ext>
            </a:extLst>
          </p:cNvPr>
          <p:cNvSpPr txBox="1"/>
          <p:nvPr/>
        </p:nvSpPr>
        <p:spPr>
          <a:xfrm>
            <a:off x="4720529" y="3117657"/>
            <a:ext cx="27509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LT Std 55 Roman" panose="020B0503020203020204" pitchFamily="34" charset="0"/>
                <a:ea typeface="+mn-ea"/>
                <a:cs typeface="+mn-cs"/>
              </a:rPr>
              <a:t>Plateforme de compostage</a:t>
            </a:r>
          </a:p>
        </p:txBody>
      </p:sp>
      <p:sp>
        <p:nvSpPr>
          <p:cNvPr id="24" name="ZoneTexte 23">
            <a:extLst>
              <a:ext uri="{FF2B5EF4-FFF2-40B4-BE49-F238E27FC236}">
                <a16:creationId xmlns:a16="http://schemas.microsoft.com/office/drawing/2014/main" id="{5F7ED372-0AC5-CF6A-D2F4-2C5B4C4EDABD}"/>
              </a:ext>
            </a:extLst>
          </p:cNvPr>
          <p:cNvSpPr txBox="1"/>
          <p:nvPr/>
        </p:nvSpPr>
        <p:spPr>
          <a:xfrm>
            <a:off x="757581" y="1538891"/>
            <a:ext cx="15922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LT Std 55 Roman" panose="020B0503020203020204" pitchFamily="34" charset="0"/>
                <a:ea typeface="+mn-ea"/>
                <a:cs typeface="+mn-cs"/>
              </a:rPr>
              <a:t>Compostage individuel</a:t>
            </a:r>
          </a:p>
        </p:txBody>
      </p:sp>
    </p:spTree>
    <p:extLst>
      <p:ext uri="{BB962C8B-B14F-4D97-AF65-F5344CB8AC3E}">
        <p14:creationId xmlns:p14="http://schemas.microsoft.com/office/powerpoint/2010/main" val="2730941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EC5086C5-0E26-4D8A-81A3-5916402E59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DB2F9C-E71B-B545-B257-E1C65CA446D5}" type="slidenum">
              <a:rPr lang="fr-FR" smtClean="0"/>
              <a:t>5</a:t>
            </a:fld>
            <a:endParaRPr lang="fr-FR"/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6F5387D-A60C-4205-AB22-8095224C7A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omparaison Compostage / Méthanisation</a:t>
            </a:r>
            <a:br>
              <a:rPr lang="fr-FR" dirty="0"/>
            </a:br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A4FF91B6-BB2C-4BCA-B5E9-0D9A60BA8B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8780" y="792423"/>
            <a:ext cx="7880249" cy="5924567"/>
          </a:xfrm>
          <a:prstGeom prst="rect">
            <a:avLst/>
          </a:prstGeom>
          <a:ln w="38100">
            <a:solidFill>
              <a:schemeClr val="accent3"/>
            </a:solidFill>
          </a:ln>
        </p:spPr>
      </p:pic>
      <p:sp>
        <p:nvSpPr>
          <p:cNvPr id="7" name="Espace réservé du texte 3">
            <a:extLst>
              <a:ext uri="{FF2B5EF4-FFF2-40B4-BE49-F238E27FC236}">
                <a16:creationId xmlns:a16="http://schemas.microsoft.com/office/drawing/2014/main" id="{1C33D3BD-4B28-4E84-8C19-A93732174077}"/>
              </a:ext>
            </a:extLst>
          </p:cNvPr>
          <p:cNvSpPr txBox="1">
            <a:spLocks/>
          </p:cNvSpPr>
          <p:nvPr/>
        </p:nvSpPr>
        <p:spPr>
          <a:xfrm>
            <a:off x="8503920" y="771049"/>
            <a:ext cx="3300983" cy="4258151"/>
          </a:xfrm>
          <a:prstGeom prst="rect">
            <a:avLst/>
          </a:prstGeom>
          <a:ln w="38100">
            <a:solidFill>
              <a:srgbClr val="00B050"/>
            </a:solidFill>
          </a:ln>
        </p:spPr>
        <p:txBody>
          <a:bodyPr vert="horz" lIns="72000" tIns="45720" rIns="72000" bIns="45720" rtlCol="0" anchor="t">
            <a:noAutofit/>
          </a:bodyPr>
          <a:lstStyle>
            <a:lvl1pPr marL="228600" indent="-228600" algn="just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venir LT Std 55 Roman" panose="020B0503020203020204" pitchFamily="34" charset="0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venir Book" panose="02000503020000020003" pitchFamily="2" charset="0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venir Book" panose="02000503020000020003" pitchFamily="2" charset="0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venir Book" panose="02000503020000020003" pitchFamily="2" charset="0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venir Book" panose="02000503020000020003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fr-FR" sz="1600" b="1" dirty="0">
                <a:solidFill>
                  <a:schemeClr val="accent4"/>
                </a:solidFill>
              </a:rPr>
              <a:t>Traitement des déchets de Cuisine et de tables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FR" b="1" dirty="0">
                <a:solidFill>
                  <a:schemeClr val="accent6"/>
                </a:solidFill>
              </a:rPr>
              <a:t>Intérêt du compostage :</a:t>
            </a:r>
          </a:p>
          <a:p>
            <a:r>
              <a:rPr lang="fr-FR" dirty="0"/>
              <a:t>En proximité : compostage individuel ou de quartier (avec des bénévoles impliqués),</a:t>
            </a:r>
          </a:p>
          <a:p>
            <a:r>
              <a:rPr lang="fr-FR" dirty="0"/>
              <a:t>A l’échelle de l’agglomération sur des petits volumes, si beaucoup de déchets verts ou si déjà existante.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fr-FR" b="1" dirty="0">
                <a:solidFill>
                  <a:schemeClr val="accent6"/>
                </a:solidFill>
              </a:rPr>
              <a:t>Intérêt de la méthanisation :</a:t>
            </a:r>
          </a:p>
          <a:p>
            <a:r>
              <a:rPr lang="fr-FR" dirty="0"/>
              <a:t>A l’échelle d’un bassin de vie : lorsque les volumes sont suffisants pour une installation territoriale. Ou en complément d’une méthanisation agricole existante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FB8AF5AA-9628-4B1A-9EAA-E79930EDD7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931755" y="5453816"/>
            <a:ext cx="3444273" cy="827167"/>
          </a:xfrm>
          <a:solidFill>
            <a:schemeClr val="bg1"/>
          </a:solidFill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/>
              <a:t>Source : 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200" dirty="0">
                <a:hlinkClick r:id="rId3"/>
              </a:rPr>
              <a:t>Présentation PowerPoint (negawatt.org)</a:t>
            </a:r>
            <a:endParaRPr lang="fr-FR" sz="1200" dirty="0"/>
          </a:p>
          <a:p>
            <a:pPr marL="0" indent="0" algn="l">
              <a:lnSpc>
                <a:spcPct val="100000"/>
              </a:lnSpc>
              <a:spcBef>
                <a:spcPts val="600"/>
              </a:spcBef>
              <a:buNone/>
            </a:pPr>
            <a:r>
              <a:rPr lang="fr-FR" sz="1200" dirty="0"/>
              <a:t>Pour aller plus loin : </a:t>
            </a:r>
            <a:r>
              <a:rPr lang="pt-BR" sz="1200" dirty="0">
                <a:hlinkClick r:id="rId4"/>
              </a:rPr>
              <a:t>Qualite_Agro_Digestats_Solagro_2004</a:t>
            </a:r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2092245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>
            <a:extLst>
              <a:ext uri="{FF2B5EF4-FFF2-40B4-BE49-F238E27FC236}">
                <a16:creationId xmlns:a16="http://schemas.microsoft.com/office/drawing/2014/main" id="{0C4F0F62-B711-A1E9-3F28-3D8B4AC8D4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0622" y="2766218"/>
            <a:ext cx="7600122" cy="1325563"/>
          </a:xfrm>
        </p:spPr>
        <p:txBody>
          <a:bodyPr/>
          <a:lstStyle/>
          <a:p>
            <a:pPr algn="ctr"/>
            <a:r>
              <a:rPr lang="fr-FR" sz="4800" i="1"/>
              <a:t>Merci ! 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DBFB9C36-B7C8-C58D-13F0-708D0D45764A}"/>
              </a:ext>
            </a:extLst>
          </p:cNvPr>
          <p:cNvPicPr>
            <a:picLocks noGrp="1" noChangeAspect="1" noChangeArrowheads="1"/>
          </p:cNvPicPr>
          <p:nvPr>
            <p:ph type="pic" sz="quarter" idx="16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59" r="2859"/>
          <a:stretch>
            <a:fillRect/>
          </a:stretch>
        </p:blipFill>
        <p:spPr bwMode="auto">
          <a:xfrm>
            <a:off x="8945563" y="0"/>
            <a:ext cx="3246437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73945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RDF_BleuC">
  <a:themeElements>
    <a:clrScheme name="GRDF">
      <a:dk1>
        <a:sysClr val="windowText" lastClr="000000"/>
      </a:dk1>
      <a:lt1>
        <a:srgbClr val="FFFFFF"/>
      </a:lt1>
      <a:dk2>
        <a:srgbClr val="662483"/>
      </a:dk2>
      <a:lt2>
        <a:srgbClr val="CCCCC6"/>
      </a:lt2>
      <a:accent1>
        <a:srgbClr val="0053A1"/>
      </a:accent1>
      <a:accent2>
        <a:srgbClr val="009BC4"/>
      </a:accent2>
      <a:accent3>
        <a:srgbClr val="00B1AF"/>
      </a:accent3>
      <a:accent4>
        <a:srgbClr val="71B857"/>
      </a:accent4>
      <a:accent5>
        <a:srgbClr val="FAB200"/>
      </a:accent5>
      <a:accent6>
        <a:srgbClr val="9796A3"/>
      </a:accent6>
      <a:hlink>
        <a:srgbClr val="000000"/>
      </a:hlink>
      <a:folHlink>
        <a:srgbClr val="000000"/>
      </a:folHlink>
    </a:clrScheme>
    <a:fontScheme name="GRDF">
      <a:majorFont>
        <a:latin typeface="Avenir LT Std 65 Medium"/>
        <a:ea typeface=""/>
        <a:cs typeface=""/>
      </a:majorFont>
      <a:minorFont>
        <a:latin typeface="Avenir LT Std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alpha val="85000"/>
          </a:schemeClr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GRDF_BleuC">
  <a:themeElements>
    <a:clrScheme name="GRDF">
      <a:dk1>
        <a:sysClr val="windowText" lastClr="000000"/>
      </a:dk1>
      <a:lt1>
        <a:srgbClr val="FFFFFF"/>
      </a:lt1>
      <a:dk2>
        <a:srgbClr val="662483"/>
      </a:dk2>
      <a:lt2>
        <a:srgbClr val="CCCCC6"/>
      </a:lt2>
      <a:accent1>
        <a:srgbClr val="0053A1"/>
      </a:accent1>
      <a:accent2>
        <a:srgbClr val="009BC4"/>
      </a:accent2>
      <a:accent3>
        <a:srgbClr val="00B1AF"/>
      </a:accent3>
      <a:accent4>
        <a:srgbClr val="71B857"/>
      </a:accent4>
      <a:accent5>
        <a:srgbClr val="FAB200"/>
      </a:accent5>
      <a:accent6>
        <a:srgbClr val="9796A3"/>
      </a:accent6>
      <a:hlink>
        <a:srgbClr val="000000"/>
      </a:hlink>
      <a:folHlink>
        <a:srgbClr val="000000"/>
      </a:folHlink>
    </a:clrScheme>
    <a:fontScheme name="GRDF">
      <a:majorFont>
        <a:latin typeface="Avenir LT Std 65 Medium"/>
        <a:ea typeface=""/>
        <a:cs typeface=""/>
      </a:majorFont>
      <a:minorFont>
        <a:latin typeface="Avenir LT Std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2_GRDF_BleuC">
  <a:themeElements>
    <a:clrScheme name="GRDF">
      <a:dk1>
        <a:sysClr val="windowText" lastClr="000000"/>
      </a:dk1>
      <a:lt1>
        <a:srgbClr val="FFFFFF"/>
      </a:lt1>
      <a:dk2>
        <a:srgbClr val="662483"/>
      </a:dk2>
      <a:lt2>
        <a:srgbClr val="CCCCC6"/>
      </a:lt2>
      <a:accent1>
        <a:srgbClr val="0053A1"/>
      </a:accent1>
      <a:accent2>
        <a:srgbClr val="009BC4"/>
      </a:accent2>
      <a:accent3>
        <a:srgbClr val="00B1AF"/>
      </a:accent3>
      <a:accent4>
        <a:srgbClr val="71B857"/>
      </a:accent4>
      <a:accent5>
        <a:srgbClr val="FAB200"/>
      </a:accent5>
      <a:accent6>
        <a:srgbClr val="9796A3"/>
      </a:accent6>
      <a:hlink>
        <a:srgbClr val="000000"/>
      </a:hlink>
      <a:folHlink>
        <a:srgbClr val="000000"/>
      </a:folHlink>
    </a:clrScheme>
    <a:fontScheme name="GRDF">
      <a:majorFont>
        <a:latin typeface="Avenir LT Std 65 Medium"/>
        <a:ea typeface=""/>
        <a:cs typeface=""/>
      </a:majorFont>
      <a:minorFont>
        <a:latin typeface="Avenir LT Std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3_GRDF_BleuC">
  <a:themeElements>
    <a:clrScheme name="GRDF">
      <a:dk1>
        <a:sysClr val="windowText" lastClr="000000"/>
      </a:dk1>
      <a:lt1>
        <a:srgbClr val="FFFFFF"/>
      </a:lt1>
      <a:dk2>
        <a:srgbClr val="662483"/>
      </a:dk2>
      <a:lt2>
        <a:srgbClr val="CCCCC6"/>
      </a:lt2>
      <a:accent1>
        <a:srgbClr val="0053A1"/>
      </a:accent1>
      <a:accent2>
        <a:srgbClr val="009BC4"/>
      </a:accent2>
      <a:accent3>
        <a:srgbClr val="00B1AF"/>
      </a:accent3>
      <a:accent4>
        <a:srgbClr val="71B857"/>
      </a:accent4>
      <a:accent5>
        <a:srgbClr val="FAB200"/>
      </a:accent5>
      <a:accent6>
        <a:srgbClr val="9796A3"/>
      </a:accent6>
      <a:hlink>
        <a:srgbClr val="000000"/>
      </a:hlink>
      <a:folHlink>
        <a:srgbClr val="000000"/>
      </a:folHlink>
    </a:clrScheme>
    <a:fontScheme name="GRDF">
      <a:majorFont>
        <a:latin typeface="Avenir LT Std 65 Medium"/>
        <a:ea typeface=""/>
        <a:cs typeface=""/>
      </a:majorFont>
      <a:minorFont>
        <a:latin typeface="Avenir LT Std 55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000" dirty="0" smtClean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1200" dirty="0" smtClean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GRDF">
  <a:themeElements>
    <a:clrScheme name="Personnalisé 5">
      <a:dk1>
        <a:srgbClr val="000000"/>
      </a:dk1>
      <a:lt1>
        <a:srgbClr val="FFFFFF"/>
      </a:lt1>
      <a:dk2>
        <a:srgbClr val="70B856"/>
      </a:dk2>
      <a:lt2>
        <a:srgbClr val="E7E6E6"/>
      </a:lt2>
      <a:accent1>
        <a:srgbClr val="70B856"/>
      </a:accent1>
      <a:accent2>
        <a:srgbClr val="1B92BA"/>
      </a:accent2>
      <a:accent3>
        <a:srgbClr val="F9B200"/>
      </a:accent3>
      <a:accent4>
        <a:srgbClr val="00B1AE"/>
      </a:accent4>
      <a:accent5>
        <a:srgbClr val="70B856"/>
      </a:accent5>
      <a:accent6>
        <a:srgbClr val="70B856"/>
      </a:accent6>
      <a:hlink>
        <a:srgbClr val="70B856"/>
      </a:hlink>
      <a:folHlink>
        <a:srgbClr val="003B71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ASQUE_GRDF_VF_.potx" id="{DB23FF28-7432-4A10-B74C-2A58D98128F4}" vid="{29519327-E0DD-46CB-9347-F64309136F14}"/>
    </a:ext>
  </a:extLst>
</a:theme>
</file>

<file path=ppt/theme/theme6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6667FB4BF03641BF158D0C0C01F4AC" ma:contentTypeVersion="13" ma:contentTypeDescription="Crée un document." ma:contentTypeScope="" ma:versionID="477d52fc9eadcb3fd30f7760f3fa90a2">
  <xsd:schema xmlns:xsd="http://www.w3.org/2001/XMLSchema" xmlns:xs="http://www.w3.org/2001/XMLSchema" xmlns:p="http://schemas.microsoft.com/office/2006/metadata/properties" xmlns:ns2="05ef3db7-a7dd-4a4e-a0d5-50366f3fb661" xmlns:ns3="0487cf97-e316-4d98-a2f0-0f69e2ce1581" targetNamespace="http://schemas.microsoft.com/office/2006/metadata/properties" ma:root="true" ma:fieldsID="56c9a85f1e18c7644d8c966658d4cff8" ns2:_="" ns3:_="">
    <xsd:import namespace="05ef3db7-a7dd-4a4e-a0d5-50366f3fb661"/>
    <xsd:import namespace="0487cf97-e316-4d98-a2f0-0f69e2ce158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ef3db7-a7dd-4a4e-a0d5-50366f3fb6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Balises d’images" ma:readOnly="false" ma:fieldId="{5cf76f15-5ced-4ddc-b409-7134ff3c332f}" ma:taxonomyMulti="true" ma:sspId="ff804446-778a-44e9-9973-97875d11657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87cf97-e316-4d98-a2f0-0f69e2ce1581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17e23a1b-fdd2-499a-b0c6-db2721b82410}" ma:internalName="TaxCatchAll" ma:showField="CatchAllData" ma:web="0487cf97-e316-4d98-a2f0-0f69e2ce158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5ef3db7-a7dd-4a4e-a0d5-50366f3fb661">
      <Terms xmlns="http://schemas.microsoft.com/office/infopath/2007/PartnerControls"/>
    </lcf76f155ced4ddcb4097134ff3c332f>
    <TaxCatchAll xmlns="0487cf97-e316-4d98-a2f0-0f69e2ce1581" xsi:nil="true"/>
    <SharedWithUsers xmlns="0487cf97-e316-4d98-a2f0-0f69e2ce1581">
      <UserInfo>
        <DisplayName>DUSART Olivier (Gaz Réseau Distribution France)</DisplayName>
        <AccountId>1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8025925-3EC7-4F64-8C73-C23BE6AC26F8}">
  <ds:schemaRefs>
    <ds:schemaRef ds:uri="0487cf97-e316-4d98-a2f0-0f69e2ce1581"/>
    <ds:schemaRef ds:uri="05ef3db7-a7dd-4a4e-a0d5-50366f3fb6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BDC2DF79-EF1D-44C0-BE5E-1FDA15B92F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80CE8D-9382-420E-883A-8B644B37D906}">
  <ds:schemaRefs>
    <ds:schemaRef ds:uri="http://schemas.microsoft.com/office/2006/documentManagement/types"/>
    <ds:schemaRef ds:uri="http://purl.org/dc/dcmitype/"/>
    <ds:schemaRef ds:uri="http://schemas.microsoft.com/office/2006/metadata/properties"/>
    <ds:schemaRef ds:uri="05ef3db7-a7dd-4a4e-a0d5-50366f3fb661"/>
    <ds:schemaRef ds:uri="http://purl.org/dc/terms/"/>
    <ds:schemaRef ds:uri="http://schemas.microsoft.com/office/infopath/2007/PartnerControls"/>
    <ds:schemaRef ds:uri="0487cf97-e316-4d98-a2f0-0f69e2ce1581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7</TotalTime>
  <Words>341</Words>
  <Application>Microsoft Office PowerPoint</Application>
  <PresentationFormat>Grand écran</PresentationFormat>
  <Paragraphs>68</Paragraphs>
  <Slides>6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6</vt:i4>
      </vt:variant>
    </vt:vector>
  </HeadingPairs>
  <TitlesOfParts>
    <vt:vector size="21" baseType="lpstr">
      <vt:lpstr>AntagometricaBTW01-Bold</vt:lpstr>
      <vt:lpstr>Arial</vt:lpstr>
      <vt:lpstr>Avenir Book</vt:lpstr>
      <vt:lpstr>Avenir LT Std 55 Roman</vt:lpstr>
      <vt:lpstr>Avenir LT Std 65 Medium</vt:lpstr>
      <vt:lpstr>Calibri</vt:lpstr>
      <vt:lpstr>FlamaLight</vt:lpstr>
      <vt:lpstr>Titillium</vt:lpstr>
      <vt:lpstr>Wingdings</vt:lpstr>
      <vt:lpstr>GRDF_BleuC</vt:lpstr>
      <vt:lpstr>1_GRDF_BleuC</vt:lpstr>
      <vt:lpstr>2_GRDF_BleuC</vt:lpstr>
      <vt:lpstr>3_GRDF_BleuC</vt:lpstr>
      <vt:lpstr>GRDF</vt:lpstr>
      <vt:lpstr>think-cell Slide</vt:lpstr>
      <vt:lpstr>Présentation PowerPoint</vt:lpstr>
      <vt:lpstr>3 types de méthanisation pour des rôles de la collectivité très différents</vt:lpstr>
      <vt:lpstr>Quelle valorisation pour nos biodéchets ?</vt:lpstr>
      <vt:lpstr>Quelles solutions de valorisation des biodéchets ? </vt:lpstr>
      <vt:lpstr>Comparaison Compostage / Méthanisation </vt:lpstr>
      <vt:lpstr>Merci !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Gladys Leclerc</dc:creator>
  <cp:lastModifiedBy>RIVOLLET Laurent (GRDF)</cp:lastModifiedBy>
  <cp:revision>13</cp:revision>
  <cp:lastPrinted>2023-06-14T07:02:27Z</cp:lastPrinted>
  <dcterms:created xsi:type="dcterms:W3CDTF">2020-02-04T15:47:08Z</dcterms:created>
  <dcterms:modified xsi:type="dcterms:W3CDTF">2024-02-14T14:0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6667FB4BF03641BF158D0C0C01F4AC</vt:lpwstr>
  </property>
  <property fmtid="{D5CDD505-2E9C-101B-9397-08002B2CF9AE}" pid="3" name="MediaServiceImageTags">
    <vt:lpwstr/>
  </property>
</Properties>
</file>